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14"/>
  </p:notesMasterIdLst>
  <p:handoutMasterIdLst>
    <p:handoutMasterId r:id="rId15"/>
  </p:handoutMasterIdLst>
  <p:sldIdLst>
    <p:sldId id="2080107992" r:id="rId5"/>
    <p:sldId id="2146846137" r:id="rId6"/>
    <p:sldId id="2146846139" r:id="rId7"/>
    <p:sldId id="2146846140" r:id="rId8"/>
    <p:sldId id="2146846135" r:id="rId9"/>
    <p:sldId id="2146846104" r:id="rId10"/>
    <p:sldId id="2146846138" r:id="rId11"/>
    <p:sldId id="2146846141" r:id="rId12"/>
    <p:sldId id="2146846142" r:id="rId13"/>
  </p:sldIdLst>
  <p:sldSz cx="12192000" cy="6858000"/>
  <p:notesSz cx="6858000" cy="9144000"/>
  <p:custDataLst>
    <p:tags r:id="rId16"/>
  </p:custDataLst>
  <p:defaultTextStyle>
    <a:defPPr>
      <a:defRPr lang="es-MX"/>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709B5937-3ED7-4E05-B3E6-6DB33CDBE7C1}">
          <p14:sldIdLst>
            <p14:sldId id="2080107992"/>
            <p14:sldId id="2146846137"/>
            <p14:sldId id="2146846139"/>
            <p14:sldId id="2146846140"/>
            <p14:sldId id="2146846135"/>
            <p14:sldId id="2146846104"/>
            <p14:sldId id="2146846138"/>
            <p14:sldId id="2146846141"/>
            <p14:sldId id="2146846142"/>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aroline Abreu" initials="CA" lastIdx="3" clrIdx="0">
    <p:extLst>
      <p:ext uri="{19B8F6BF-5375-455C-9EA6-DF929625EA0E}">
        <p15:presenceInfo xmlns:p15="http://schemas.microsoft.com/office/powerpoint/2012/main" userId="S::Caroline.Abreu@br.ey.com::bfd3b66c-b3b5-49dc-8f1e-f44487b1dddd" providerId="AD"/>
      </p:ext>
    </p:extLst>
  </p:cmAuthor>
  <p:cmAuthor id="2" name="Katerine Schifino" initials="KS" lastIdx="2" clrIdx="1">
    <p:extLst>
      <p:ext uri="{19B8F6BF-5375-455C-9EA6-DF929625EA0E}">
        <p15:presenceInfo xmlns:p15="http://schemas.microsoft.com/office/powerpoint/2012/main" userId="S::Katerine.Schifino@co.ey.com::37bb67de-9fcf-4611-888c-7e5b58184a2a"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A3A55"/>
    <a:srgbClr val="D4BFF8"/>
    <a:srgbClr val="366E7A"/>
    <a:srgbClr val="3A8997"/>
    <a:srgbClr val="64C2C8"/>
    <a:srgbClr val="FBBE5B"/>
    <a:srgbClr val="F39149"/>
    <a:srgbClr val="DC5149"/>
    <a:srgbClr val="54959D"/>
    <a:srgbClr val="BD935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595FEE5-B46C-4A48-9139-4FD42CC6AB31}" v="46" dt="2022-03-25T20:21:39.52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286" autoAdjust="0"/>
    <p:restoredTop sz="94796" autoAdjust="0"/>
  </p:normalViewPr>
  <p:slideViewPr>
    <p:cSldViewPr snapToGrid="0">
      <p:cViewPr varScale="1">
        <p:scale>
          <a:sx n="75" d="100"/>
          <a:sy n="75" d="100"/>
        </p:scale>
        <p:origin x="196" y="36"/>
      </p:cViewPr>
      <p:guideLst/>
    </p:cSldViewPr>
  </p:slideViewPr>
  <p:notesTextViewPr>
    <p:cViewPr>
      <p:scale>
        <a:sx n="66" d="100"/>
        <a:sy n="66" d="100"/>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handoutMaster" Target="handoutMasters/handoutMaster1.xml"/><Relationship Id="rId23"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notesMaster" Target="notesMasters/notesMaster1.xml"/><Relationship Id="rId22"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aterine Schifino" userId="37bb67de-9fcf-4611-888c-7e5b58184a2a" providerId="ADAL" clId="{58C35E70-9B3E-4909-9CC8-3720A011650A}"/>
    <pc:docChg chg="undo redo custSel addSld delSld modSld">
      <pc:chgData name="Katerine Schifino" userId="37bb67de-9fcf-4611-888c-7e5b58184a2a" providerId="ADAL" clId="{58C35E70-9B3E-4909-9CC8-3720A011650A}" dt="2022-02-21T22:12:46.523" v="2919" actId="1076"/>
      <pc:docMkLst>
        <pc:docMk/>
      </pc:docMkLst>
      <pc:sldChg chg="modSp mod">
        <pc:chgData name="Katerine Schifino" userId="37bb67de-9fcf-4611-888c-7e5b58184a2a" providerId="ADAL" clId="{58C35E70-9B3E-4909-9CC8-3720A011650A}" dt="2022-02-21T21:17:22.213" v="2603" actId="20577"/>
        <pc:sldMkLst>
          <pc:docMk/>
          <pc:sldMk cId="1390084327" sldId="2146846067"/>
        </pc:sldMkLst>
        <pc:spChg chg="mod">
          <ac:chgData name="Katerine Schifino" userId="37bb67de-9fcf-4611-888c-7e5b58184a2a" providerId="ADAL" clId="{58C35E70-9B3E-4909-9CC8-3720A011650A}" dt="2022-02-21T21:17:22.213" v="2603" actId="20577"/>
          <ac:spMkLst>
            <pc:docMk/>
            <pc:sldMk cId="1390084327" sldId="2146846067"/>
            <ac:spMk id="4" creationId="{2ED80763-D8A0-45A2-9778-83954983BC11}"/>
          </ac:spMkLst>
        </pc:spChg>
      </pc:sldChg>
      <pc:sldChg chg="modSp mod">
        <pc:chgData name="Katerine Schifino" userId="37bb67de-9fcf-4611-888c-7e5b58184a2a" providerId="ADAL" clId="{58C35E70-9B3E-4909-9CC8-3720A011650A}" dt="2022-02-21T19:41:25.075" v="1516" actId="20577"/>
        <pc:sldMkLst>
          <pc:docMk/>
          <pc:sldMk cId="3769645891" sldId="2146846068"/>
        </pc:sldMkLst>
        <pc:spChg chg="mod">
          <ac:chgData name="Katerine Schifino" userId="37bb67de-9fcf-4611-888c-7e5b58184a2a" providerId="ADAL" clId="{58C35E70-9B3E-4909-9CC8-3720A011650A}" dt="2022-02-21T19:41:25.075" v="1516" actId="20577"/>
          <ac:spMkLst>
            <pc:docMk/>
            <pc:sldMk cId="3769645891" sldId="2146846068"/>
            <ac:spMk id="2" creationId="{C0E9A057-F805-4750-9C97-49B491EDA40C}"/>
          </ac:spMkLst>
        </pc:spChg>
      </pc:sldChg>
      <pc:sldChg chg="modSp mod">
        <pc:chgData name="Katerine Schifino" userId="37bb67de-9fcf-4611-888c-7e5b58184a2a" providerId="ADAL" clId="{58C35E70-9B3E-4909-9CC8-3720A011650A}" dt="2022-02-21T22:00:30.111" v="2644" actId="20577"/>
        <pc:sldMkLst>
          <pc:docMk/>
          <pc:sldMk cId="555850471" sldId="2146846069"/>
        </pc:sldMkLst>
        <pc:spChg chg="mod">
          <ac:chgData name="Katerine Schifino" userId="37bb67de-9fcf-4611-888c-7e5b58184a2a" providerId="ADAL" clId="{58C35E70-9B3E-4909-9CC8-3720A011650A}" dt="2022-02-21T22:00:30.111" v="2644" actId="20577"/>
          <ac:spMkLst>
            <pc:docMk/>
            <pc:sldMk cId="555850471" sldId="2146846069"/>
            <ac:spMk id="10" creationId="{5FEBD768-6CBB-4D42-B186-30EDCE4EE10B}"/>
          </ac:spMkLst>
        </pc:spChg>
      </pc:sldChg>
      <pc:sldChg chg="addSp delSp modSp add mod">
        <pc:chgData name="Katerine Schifino" userId="37bb67de-9fcf-4611-888c-7e5b58184a2a" providerId="ADAL" clId="{58C35E70-9B3E-4909-9CC8-3720A011650A}" dt="2022-02-21T22:00:55.214" v="2682" actId="20577"/>
        <pc:sldMkLst>
          <pc:docMk/>
          <pc:sldMk cId="668602395" sldId="2146846070"/>
        </pc:sldMkLst>
        <pc:spChg chg="add mod">
          <ac:chgData name="Katerine Schifino" userId="37bb67de-9fcf-4611-888c-7e5b58184a2a" providerId="ADAL" clId="{58C35E70-9B3E-4909-9CC8-3720A011650A}" dt="2022-02-21T22:00:40.848" v="2649" actId="6549"/>
          <ac:spMkLst>
            <pc:docMk/>
            <pc:sldMk cId="668602395" sldId="2146846070"/>
            <ac:spMk id="4" creationId="{33CCAFE0-38CF-4E6D-87EC-B575431B4F03}"/>
          </ac:spMkLst>
        </pc:spChg>
        <pc:spChg chg="add del mod">
          <ac:chgData name="Katerine Schifino" userId="37bb67de-9fcf-4611-888c-7e5b58184a2a" providerId="ADAL" clId="{58C35E70-9B3E-4909-9CC8-3720A011650A}" dt="2022-02-21T19:40:50.486" v="1496" actId="1076"/>
          <ac:spMkLst>
            <pc:docMk/>
            <pc:sldMk cId="668602395" sldId="2146846070"/>
            <ac:spMk id="10" creationId="{5FEBD768-6CBB-4D42-B186-30EDCE4EE10B}"/>
          </ac:spMkLst>
        </pc:spChg>
        <pc:spChg chg="add mod">
          <ac:chgData name="Katerine Schifino" userId="37bb67de-9fcf-4611-888c-7e5b58184a2a" providerId="ADAL" clId="{58C35E70-9B3E-4909-9CC8-3720A011650A}" dt="2022-02-21T22:00:43.910" v="2656" actId="20577"/>
          <ac:spMkLst>
            <pc:docMk/>
            <pc:sldMk cId="668602395" sldId="2146846070"/>
            <ac:spMk id="54" creationId="{CCDC07F6-3AC9-4F03-9DBC-31ED1CCF2A00}"/>
          </ac:spMkLst>
        </pc:spChg>
        <pc:spChg chg="add mod">
          <ac:chgData name="Katerine Schifino" userId="37bb67de-9fcf-4611-888c-7e5b58184a2a" providerId="ADAL" clId="{58C35E70-9B3E-4909-9CC8-3720A011650A}" dt="2022-02-21T22:00:48.534" v="2667" actId="6549"/>
          <ac:spMkLst>
            <pc:docMk/>
            <pc:sldMk cId="668602395" sldId="2146846070"/>
            <ac:spMk id="55" creationId="{ECBB1FA4-0EF7-4E04-A9AF-76A57C1DDEA8}"/>
          </ac:spMkLst>
        </pc:spChg>
        <pc:spChg chg="add mod">
          <ac:chgData name="Katerine Schifino" userId="37bb67de-9fcf-4611-888c-7e5b58184a2a" providerId="ADAL" clId="{58C35E70-9B3E-4909-9CC8-3720A011650A}" dt="2022-02-21T22:00:52.457" v="2677" actId="6549"/>
          <ac:spMkLst>
            <pc:docMk/>
            <pc:sldMk cId="668602395" sldId="2146846070"/>
            <ac:spMk id="57" creationId="{0BFF77A9-070C-4A69-9E21-495C225B46FC}"/>
          </ac:spMkLst>
        </pc:spChg>
        <pc:spChg chg="add mod">
          <ac:chgData name="Katerine Schifino" userId="37bb67de-9fcf-4611-888c-7e5b58184a2a" providerId="ADAL" clId="{58C35E70-9B3E-4909-9CC8-3720A011650A}" dt="2022-02-21T22:00:55.214" v="2682" actId="20577"/>
          <ac:spMkLst>
            <pc:docMk/>
            <pc:sldMk cId="668602395" sldId="2146846070"/>
            <ac:spMk id="58" creationId="{A184FEFA-7C45-4BC5-B3CD-BF879F6E512B}"/>
          </ac:spMkLst>
        </pc:spChg>
        <pc:spChg chg="add mod">
          <ac:chgData name="Katerine Schifino" userId="37bb67de-9fcf-4611-888c-7e5b58184a2a" providerId="ADAL" clId="{58C35E70-9B3E-4909-9CC8-3720A011650A}" dt="2022-02-21T19:39:35.037" v="1475" actId="1036"/>
          <ac:spMkLst>
            <pc:docMk/>
            <pc:sldMk cId="668602395" sldId="2146846070"/>
            <ac:spMk id="60" creationId="{F75801D6-1968-4310-8160-62B6ABE3B90C}"/>
          </ac:spMkLst>
        </pc:spChg>
        <pc:spChg chg="add mod">
          <ac:chgData name="Katerine Schifino" userId="37bb67de-9fcf-4611-888c-7e5b58184a2a" providerId="ADAL" clId="{58C35E70-9B3E-4909-9CC8-3720A011650A}" dt="2022-02-21T19:40:04.168" v="1489" actId="1036"/>
          <ac:spMkLst>
            <pc:docMk/>
            <pc:sldMk cId="668602395" sldId="2146846070"/>
            <ac:spMk id="61" creationId="{7853FFE2-B48A-458C-84B9-2FAE28EBBDB1}"/>
          </ac:spMkLst>
        </pc:spChg>
        <pc:spChg chg="add mod">
          <ac:chgData name="Katerine Schifino" userId="37bb67de-9fcf-4611-888c-7e5b58184a2a" providerId="ADAL" clId="{58C35E70-9B3E-4909-9CC8-3720A011650A}" dt="2022-02-21T19:39:30.511" v="1473" actId="552"/>
          <ac:spMkLst>
            <pc:docMk/>
            <pc:sldMk cId="668602395" sldId="2146846070"/>
            <ac:spMk id="63" creationId="{AB747E47-0D9A-448C-A297-F1099DD98708}"/>
          </ac:spMkLst>
        </pc:spChg>
        <pc:spChg chg="add mod">
          <ac:chgData name="Katerine Schifino" userId="37bb67de-9fcf-4611-888c-7e5b58184a2a" providerId="ADAL" clId="{58C35E70-9B3E-4909-9CC8-3720A011650A}" dt="2022-02-21T19:39:30.511" v="1473" actId="552"/>
          <ac:spMkLst>
            <pc:docMk/>
            <pc:sldMk cId="668602395" sldId="2146846070"/>
            <ac:spMk id="64" creationId="{B3BCFD08-0E54-4C65-928B-59D44FC4D128}"/>
          </ac:spMkLst>
        </pc:spChg>
        <pc:spChg chg="add mod">
          <ac:chgData name="Katerine Schifino" userId="37bb67de-9fcf-4611-888c-7e5b58184a2a" providerId="ADAL" clId="{58C35E70-9B3E-4909-9CC8-3720A011650A}" dt="2022-02-21T19:39:30.511" v="1473" actId="552"/>
          <ac:spMkLst>
            <pc:docMk/>
            <pc:sldMk cId="668602395" sldId="2146846070"/>
            <ac:spMk id="65" creationId="{2B7D12C8-7996-4A0F-8324-BD79436A62E8}"/>
          </ac:spMkLst>
        </pc:spChg>
        <pc:grpChg chg="add del">
          <ac:chgData name="Katerine Schifino" userId="37bb67de-9fcf-4611-888c-7e5b58184a2a" providerId="ADAL" clId="{58C35E70-9B3E-4909-9CC8-3720A011650A}" dt="2022-02-21T16:02:16.590" v="5" actId="478"/>
          <ac:grpSpMkLst>
            <pc:docMk/>
            <pc:sldMk cId="668602395" sldId="2146846070"/>
            <ac:grpSpMk id="83" creationId="{B69FA838-9C0E-4BEE-8470-F18478E45D85}"/>
          </ac:grpSpMkLst>
        </pc:grpChg>
        <pc:grpChg chg="add del">
          <ac:chgData name="Katerine Schifino" userId="37bb67de-9fcf-4611-888c-7e5b58184a2a" providerId="ADAL" clId="{58C35E70-9B3E-4909-9CC8-3720A011650A}" dt="2022-02-21T16:02:16.590" v="5" actId="478"/>
          <ac:grpSpMkLst>
            <pc:docMk/>
            <pc:sldMk cId="668602395" sldId="2146846070"/>
            <ac:grpSpMk id="85" creationId="{4D370F2A-6830-40D4-A0A8-0708A322EDCB}"/>
          </ac:grpSpMkLst>
        </pc:grpChg>
        <pc:grpChg chg="add del">
          <ac:chgData name="Katerine Schifino" userId="37bb67de-9fcf-4611-888c-7e5b58184a2a" providerId="ADAL" clId="{58C35E70-9B3E-4909-9CC8-3720A011650A}" dt="2022-02-21T16:02:14.173" v="3" actId="478"/>
          <ac:grpSpMkLst>
            <pc:docMk/>
            <pc:sldMk cId="668602395" sldId="2146846070"/>
            <ac:grpSpMk id="93" creationId="{E47A2887-67B7-458B-9BE2-50902BB9810B}"/>
          </ac:grpSpMkLst>
        </pc:grpChg>
        <pc:grpChg chg="add del">
          <ac:chgData name="Katerine Schifino" userId="37bb67de-9fcf-4611-888c-7e5b58184a2a" providerId="ADAL" clId="{58C35E70-9B3E-4909-9CC8-3720A011650A}" dt="2022-02-21T16:02:14.173" v="3" actId="478"/>
          <ac:grpSpMkLst>
            <pc:docMk/>
            <pc:sldMk cId="668602395" sldId="2146846070"/>
            <ac:grpSpMk id="104" creationId="{A3E98061-1D7B-4A93-8514-7482A4874219}"/>
          </ac:grpSpMkLst>
        </pc:grpChg>
        <pc:picChg chg="add del mod">
          <ac:chgData name="Katerine Schifino" userId="37bb67de-9fcf-4611-888c-7e5b58184a2a" providerId="ADAL" clId="{58C35E70-9B3E-4909-9CC8-3720A011650A}" dt="2022-02-21T16:35:27.740" v="172" actId="478"/>
          <ac:picMkLst>
            <pc:docMk/>
            <pc:sldMk cId="668602395" sldId="2146846070"/>
            <ac:picMk id="3" creationId="{9D1AD852-9E25-4B75-8BA6-D53F4F348C36}"/>
          </ac:picMkLst>
        </pc:picChg>
        <pc:picChg chg="add del mod">
          <ac:chgData name="Katerine Schifino" userId="37bb67de-9fcf-4611-888c-7e5b58184a2a" providerId="ADAL" clId="{58C35E70-9B3E-4909-9CC8-3720A011650A}" dt="2022-02-21T19:29:39.721" v="1365" actId="478"/>
          <ac:picMkLst>
            <pc:docMk/>
            <pc:sldMk cId="668602395" sldId="2146846070"/>
            <ac:picMk id="6" creationId="{894E52A6-636D-4D7F-8247-D57E53579245}"/>
          </ac:picMkLst>
        </pc:picChg>
        <pc:picChg chg="add del">
          <ac:chgData name="Katerine Schifino" userId="37bb67de-9fcf-4611-888c-7e5b58184a2a" providerId="ADAL" clId="{58C35E70-9B3E-4909-9CC8-3720A011650A}" dt="2022-02-21T16:02:15.206" v="4" actId="478"/>
          <ac:picMkLst>
            <pc:docMk/>
            <pc:sldMk cId="668602395" sldId="2146846070"/>
            <ac:picMk id="17434" creationId="{525906E4-8D5C-434E-ACCB-4E2B58D4B495}"/>
          </ac:picMkLst>
        </pc:picChg>
        <pc:cxnChg chg="add mod">
          <ac:chgData name="Katerine Schifino" userId="37bb67de-9fcf-4611-888c-7e5b58184a2a" providerId="ADAL" clId="{58C35E70-9B3E-4909-9CC8-3720A011650A}" dt="2022-02-21T19:41:47.042" v="1519" actId="255"/>
          <ac:cxnSpMkLst>
            <pc:docMk/>
            <pc:sldMk cId="668602395" sldId="2146846070"/>
            <ac:cxnSpMk id="8" creationId="{3FA1B797-A142-41B3-A313-27DCB849BC1B}"/>
          </ac:cxnSpMkLst>
        </pc:cxnChg>
        <pc:cxnChg chg="add del">
          <ac:chgData name="Katerine Schifino" userId="37bb67de-9fcf-4611-888c-7e5b58184a2a" providerId="ADAL" clId="{58C35E70-9B3E-4909-9CC8-3720A011650A}" dt="2022-02-21T16:02:16.590" v="5" actId="478"/>
          <ac:cxnSpMkLst>
            <pc:docMk/>
            <pc:sldMk cId="668602395" sldId="2146846070"/>
            <ac:cxnSpMk id="14" creationId="{761294EF-88C9-4001-9E68-D250AA5E0E19}"/>
          </ac:cxnSpMkLst>
        </pc:cxnChg>
        <pc:cxnChg chg="add del">
          <ac:chgData name="Katerine Schifino" userId="37bb67de-9fcf-4611-888c-7e5b58184a2a" providerId="ADAL" clId="{58C35E70-9B3E-4909-9CC8-3720A011650A}" dt="2022-02-21T16:02:16.590" v="5" actId="478"/>
          <ac:cxnSpMkLst>
            <pc:docMk/>
            <pc:sldMk cId="668602395" sldId="2146846070"/>
            <ac:cxnSpMk id="17" creationId="{E2967E53-85EE-4E89-ACF5-DD72D45D2D35}"/>
          </ac:cxnSpMkLst>
        </pc:cxnChg>
        <pc:cxnChg chg="add mod">
          <ac:chgData name="Katerine Schifino" userId="37bb67de-9fcf-4611-888c-7e5b58184a2a" providerId="ADAL" clId="{58C35E70-9B3E-4909-9CC8-3720A011650A}" dt="2022-02-21T19:41:52.960" v="1521" actId="255"/>
          <ac:cxnSpMkLst>
            <pc:docMk/>
            <pc:sldMk cId="668602395" sldId="2146846070"/>
            <ac:cxnSpMk id="71" creationId="{DD7EAD17-8AFF-462A-B9BA-7ECDEFCD666A}"/>
          </ac:cxnSpMkLst>
        </pc:cxnChg>
        <pc:cxnChg chg="add mod">
          <ac:chgData name="Katerine Schifino" userId="37bb67de-9fcf-4611-888c-7e5b58184a2a" providerId="ADAL" clId="{58C35E70-9B3E-4909-9CC8-3720A011650A}" dt="2022-02-21T19:41:50.336" v="1520" actId="255"/>
          <ac:cxnSpMkLst>
            <pc:docMk/>
            <pc:sldMk cId="668602395" sldId="2146846070"/>
            <ac:cxnSpMk id="75" creationId="{2E17744C-5D6A-419C-B9B9-2C5929F8A39F}"/>
          </ac:cxnSpMkLst>
        </pc:cxnChg>
        <pc:cxnChg chg="add mod">
          <ac:chgData name="Katerine Schifino" userId="37bb67de-9fcf-4611-888c-7e5b58184a2a" providerId="ADAL" clId="{58C35E70-9B3E-4909-9CC8-3720A011650A}" dt="2022-02-21T19:41:42.186" v="1517" actId="403"/>
          <ac:cxnSpMkLst>
            <pc:docMk/>
            <pc:sldMk cId="668602395" sldId="2146846070"/>
            <ac:cxnSpMk id="80" creationId="{66468942-55CD-4210-9787-AB73B2355E13}"/>
          </ac:cxnSpMkLst>
        </pc:cxnChg>
        <pc:cxnChg chg="add mod">
          <ac:chgData name="Katerine Schifino" userId="37bb67de-9fcf-4611-888c-7e5b58184a2a" providerId="ADAL" clId="{58C35E70-9B3E-4909-9CC8-3720A011650A}" dt="2022-02-21T19:41:44.360" v="1518" actId="403"/>
          <ac:cxnSpMkLst>
            <pc:docMk/>
            <pc:sldMk cId="668602395" sldId="2146846070"/>
            <ac:cxnSpMk id="86" creationId="{20A0F161-C425-458F-B950-ACF5CBBCD06D}"/>
          </ac:cxnSpMkLst>
        </pc:cxnChg>
      </pc:sldChg>
      <pc:sldChg chg="addSp delSp modSp add mod">
        <pc:chgData name="Katerine Schifino" userId="37bb67de-9fcf-4611-888c-7e5b58184a2a" providerId="ADAL" clId="{58C35E70-9B3E-4909-9CC8-3720A011650A}" dt="2022-02-21T22:01:46.502" v="2701" actId="20577"/>
        <pc:sldMkLst>
          <pc:docMk/>
          <pc:sldMk cId="2549410134" sldId="2146846071"/>
        </pc:sldMkLst>
        <pc:spChg chg="del">
          <ac:chgData name="Katerine Schifino" userId="37bb67de-9fcf-4611-888c-7e5b58184a2a" providerId="ADAL" clId="{58C35E70-9B3E-4909-9CC8-3720A011650A}" dt="2022-02-21T16:40:30.885" v="216" actId="478"/>
          <ac:spMkLst>
            <pc:docMk/>
            <pc:sldMk cId="2549410134" sldId="2146846071"/>
            <ac:spMk id="4" creationId="{33CCAFE0-38CF-4E6D-87EC-B575431B4F03}"/>
          </ac:spMkLst>
        </pc:spChg>
        <pc:spChg chg="add del">
          <ac:chgData name="Katerine Schifino" userId="37bb67de-9fcf-4611-888c-7e5b58184a2a" providerId="ADAL" clId="{58C35E70-9B3E-4909-9CC8-3720A011650A}" dt="2022-02-21T16:40:08.014" v="209" actId="22"/>
          <ac:spMkLst>
            <pc:docMk/>
            <pc:sldMk cId="2549410134" sldId="2146846071"/>
            <ac:spMk id="9" creationId="{76BB9D10-23EA-4CDE-A744-D74ADF57B61C}"/>
          </ac:spMkLst>
        </pc:spChg>
        <pc:spChg chg="mod">
          <ac:chgData name="Katerine Schifino" userId="37bb67de-9fcf-4611-888c-7e5b58184a2a" providerId="ADAL" clId="{58C35E70-9B3E-4909-9CC8-3720A011650A}" dt="2022-02-21T22:01:46.502" v="2701" actId="20577"/>
          <ac:spMkLst>
            <pc:docMk/>
            <pc:sldMk cId="2549410134" sldId="2146846071"/>
            <ac:spMk id="10" creationId="{5FEBD768-6CBB-4D42-B186-30EDCE4EE10B}"/>
          </ac:spMkLst>
        </pc:spChg>
        <pc:spChg chg="add del mod">
          <ac:chgData name="Katerine Schifino" userId="37bb67de-9fcf-4611-888c-7e5b58184a2a" providerId="ADAL" clId="{58C35E70-9B3E-4909-9CC8-3720A011650A}" dt="2022-02-21T16:40:21.639" v="214"/>
          <ac:spMkLst>
            <pc:docMk/>
            <pc:sldMk cId="2549410134" sldId="2146846071"/>
            <ac:spMk id="11" creationId="{5B596C17-0EC8-4A1C-BFD0-1EB1628318E4}"/>
          </ac:spMkLst>
        </pc:spChg>
        <pc:spChg chg="add mod">
          <ac:chgData name="Katerine Schifino" userId="37bb67de-9fcf-4611-888c-7e5b58184a2a" providerId="ADAL" clId="{58C35E70-9B3E-4909-9CC8-3720A011650A}" dt="2022-02-21T20:13:23.723" v="1700" actId="14100"/>
          <ac:spMkLst>
            <pc:docMk/>
            <pc:sldMk cId="2549410134" sldId="2146846071"/>
            <ac:spMk id="15" creationId="{CE240FE3-6669-44CE-944F-5CBFC9DD569D}"/>
          </ac:spMkLst>
        </pc:spChg>
        <pc:spChg chg="add mod">
          <ac:chgData name="Katerine Schifino" userId="37bb67de-9fcf-4611-888c-7e5b58184a2a" providerId="ADAL" clId="{58C35E70-9B3E-4909-9CC8-3720A011650A}" dt="2022-02-21T20:08:39.323" v="1670" actId="20577"/>
          <ac:spMkLst>
            <pc:docMk/>
            <pc:sldMk cId="2549410134" sldId="2146846071"/>
            <ac:spMk id="17" creationId="{C2F41610-68A9-424E-AEF5-EFBCF326687A}"/>
          </ac:spMkLst>
        </pc:spChg>
        <pc:spChg chg="add del mod">
          <ac:chgData name="Katerine Schifino" userId="37bb67de-9fcf-4611-888c-7e5b58184a2a" providerId="ADAL" clId="{58C35E70-9B3E-4909-9CC8-3720A011650A}" dt="2022-02-21T19:56:12.089" v="1535" actId="478"/>
          <ac:spMkLst>
            <pc:docMk/>
            <pc:sldMk cId="2549410134" sldId="2146846071"/>
            <ac:spMk id="19" creationId="{56209563-33C7-46DA-80B1-B3DCBDEE07CC}"/>
          </ac:spMkLst>
        </pc:spChg>
        <pc:spChg chg="add del mod">
          <ac:chgData name="Katerine Schifino" userId="37bb67de-9fcf-4611-888c-7e5b58184a2a" providerId="ADAL" clId="{58C35E70-9B3E-4909-9CC8-3720A011650A}" dt="2022-02-21T20:04:23.581" v="1595" actId="478"/>
          <ac:spMkLst>
            <pc:docMk/>
            <pc:sldMk cId="2549410134" sldId="2146846071"/>
            <ac:spMk id="25" creationId="{64941ED2-945E-4DC0-BE6E-A52D52AD430D}"/>
          </ac:spMkLst>
        </pc:spChg>
        <pc:spChg chg="add mod">
          <ac:chgData name="Katerine Schifino" userId="37bb67de-9fcf-4611-888c-7e5b58184a2a" providerId="ADAL" clId="{58C35E70-9B3E-4909-9CC8-3720A011650A}" dt="2022-02-21T20:08:33.911" v="1666" actId="1076"/>
          <ac:spMkLst>
            <pc:docMk/>
            <pc:sldMk cId="2549410134" sldId="2146846071"/>
            <ac:spMk id="27" creationId="{5A095F37-E01E-4D83-B7EB-6C5A5789F7CE}"/>
          </ac:spMkLst>
        </pc:spChg>
        <pc:spChg chg="add mod">
          <ac:chgData name="Katerine Schifino" userId="37bb67de-9fcf-4611-888c-7e5b58184a2a" providerId="ADAL" clId="{58C35E70-9B3E-4909-9CC8-3720A011650A}" dt="2022-02-21T20:09:27.773" v="1682" actId="113"/>
          <ac:spMkLst>
            <pc:docMk/>
            <pc:sldMk cId="2549410134" sldId="2146846071"/>
            <ac:spMk id="31" creationId="{B6FD31D8-8991-4AA8-8A8D-89A8769B8676}"/>
          </ac:spMkLst>
        </pc:spChg>
        <pc:spChg chg="del">
          <ac:chgData name="Katerine Schifino" userId="37bb67de-9fcf-4611-888c-7e5b58184a2a" providerId="ADAL" clId="{58C35E70-9B3E-4909-9CC8-3720A011650A}" dt="2022-02-21T16:40:30.885" v="216" actId="478"/>
          <ac:spMkLst>
            <pc:docMk/>
            <pc:sldMk cId="2549410134" sldId="2146846071"/>
            <ac:spMk id="54" creationId="{CCDC07F6-3AC9-4F03-9DBC-31ED1CCF2A00}"/>
          </ac:spMkLst>
        </pc:spChg>
        <pc:spChg chg="del">
          <ac:chgData name="Katerine Schifino" userId="37bb67de-9fcf-4611-888c-7e5b58184a2a" providerId="ADAL" clId="{58C35E70-9B3E-4909-9CC8-3720A011650A}" dt="2022-02-21T16:40:30.885" v="216" actId="478"/>
          <ac:spMkLst>
            <pc:docMk/>
            <pc:sldMk cId="2549410134" sldId="2146846071"/>
            <ac:spMk id="55" creationId="{ECBB1FA4-0EF7-4E04-A9AF-76A57C1DDEA8}"/>
          </ac:spMkLst>
        </pc:spChg>
        <pc:spChg chg="del">
          <ac:chgData name="Katerine Schifino" userId="37bb67de-9fcf-4611-888c-7e5b58184a2a" providerId="ADAL" clId="{58C35E70-9B3E-4909-9CC8-3720A011650A}" dt="2022-02-21T16:40:30.885" v="216" actId="478"/>
          <ac:spMkLst>
            <pc:docMk/>
            <pc:sldMk cId="2549410134" sldId="2146846071"/>
            <ac:spMk id="57" creationId="{0BFF77A9-070C-4A69-9E21-495C225B46FC}"/>
          </ac:spMkLst>
        </pc:spChg>
        <pc:spChg chg="del">
          <ac:chgData name="Katerine Schifino" userId="37bb67de-9fcf-4611-888c-7e5b58184a2a" providerId="ADAL" clId="{58C35E70-9B3E-4909-9CC8-3720A011650A}" dt="2022-02-21T16:40:30.885" v="216" actId="478"/>
          <ac:spMkLst>
            <pc:docMk/>
            <pc:sldMk cId="2549410134" sldId="2146846071"/>
            <ac:spMk id="58" creationId="{A184FEFA-7C45-4BC5-B3CD-BF879F6E512B}"/>
          </ac:spMkLst>
        </pc:spChg>
        <pc:picChg chg="add del">
          <ac:chgData name="Katerine Schifino" userId="37bb67de-9fcf-4611-888c-7e5b58184a2a" providerId="ADAL" clId="{58C35E70-9B3E-4909-9CC8-3720A011650A}" dt="2022-02-21T16:48:59.201" v="279" actId="478"/>
          <ac:picMkLst>
            <pc:docMk/>
            <pc:sldMk cId="2549410134" sldId="2146846071"/>
            <ac:picMk id="6" creationId="{1BD37B16-FFCA-4A46-9EF7-42730F41E1F4}"/>
          </ac:picMkLst>
        </pc:picChg>
        <pc:picChg chg="add del mod">
          <ac:chgData name="Katerine Schifino" userId="37bb67de-9fcf-4611-888c-7e5b58184a2a" providerId="ADAL" clId="{58C35E70-9B3E-4909-9CC8-3720A011650A}" dt="2022-02-21T19:57:38.287" v="1541" actId="478"/>
          <ac:picMkLst>
            <pc:docMk/>
            <pc:sldMk cId="2549410134" sldId="2146846071"/>
            <ac:picMk id="24578" creationId="{F74F3CEF-E82E-4470-BD44-A05CAC2C9C19}"/>
          </ac:picMkLst>
        </pc:picChg>
        <pc:picChg chg="add del mod">
          <ac:chgData name="Katerine Schifino" userId="37bb67de-9fcf-4611-888c-7e5b58184a2a" providerId="ADAL" clId="{58C35E70-9B3E-4909-9CC8-3720A011650A}" dt="2022-02-21T20:13:32.471" v="1701" actId="478"/>
          <ac:picMkLst>
            <pc:docMk/>
            <pc:sldMk cId="2549410134" sldId="2146846071"/>
            <ac:picMk id="24580" creationId="{18204F64-95B0-47DE-ACE7-C4C9AD563FB7}"/>
          </ac:picMkLst>
        </pc:picChg>
        <pc:picChg chg="add del mod">
          <ac:chgData name="Katerine Schifino" userId="37bb67de-9fcf-4611-888c-7e5b58184a2a" providerId="ADAL" clId="{58C35E70-9B3E-4909-9CC8-3720A011650A}" dt="2022-02-21T20:00:08.196" v="1562" actId="478"/>
          <ac:picMkLst>
            <pc:docMk/>
            <pc:sldMk cId="2549410134" sldId="2146846071"/>
            <ac:picMk id="24582" creationId="{D77DEED2-C5C5-4150-BD07-A8069C051678}"/>
          </ac:picMkLst>
        </pc:picChg>
        <pc:picChg chg="add del mod">
          <ac:chgData name="Katerine Schifino" userId="37bb67de-9fcf-4611-888c-7e5b58184a2a" providerId="ADAL" clId="{58C35E70-9B3E-4909-9CC8-3720A011650A}" dt="2022-02-21T20:00:43.243" v="1568" actId="478"/>
          <ac:picMkLst>
            <pc:docMk/>
            <pc:sldMk cId="2549410134" sldId="2146846071"/>
            <ac:picMk id="24584" creationId="{4E2FFC95-631F-4D77-A051-6043472FE965}"/>
          </ac:picMkLst>
        </pc:picChg>
        <pc:picChg chg="add mod">
          <ac:chgData name="Katerine Schifino" userId="37bb67de-9fcf-4611-888c-7e5b58184a2a" providerId="ADAL" clId="{58C35E70-9B3E-4909-9CC8-3720A011650A}" dt="2022-02-21T20:08:42.106" v="1671" actId="1076"/>
          <ac:picMkLst>
            <pc:docMk/>
            <pc:sldMk cId="2549410134" sldId="2146846071"/>
            <ac:picMk id="24586" creationId="{59243879-C047-4141-A23F-2A1A46338A1C}"/>
          </ac:picMkLst>
        </pc:picChg>
        <pc:picChg chg="add mod">
          <ac:chgData name="Katerine Schifino" userId="37bb67de-9fcf-4611-888c-7e5b58184a2a" providerId="ADAL" clId="{58C35E70-9B3E-4909-9CC8-3720A011650A}" dt="2022-02-21T20:08:29.843" v="1665" actId="1076"/>
          <ac:picMkLst>
            <pc:docMk/>
            <pc:sldMk cId="2549410134" sldId="2146846071"/>
            <ac:picMk id="24588" creationId="{FECDDE79-4B05-438C-BF12-36ED6A3E1EC7}"/>
          </ac:picMkLst>
        </pc:picChg>
        <pc:picChg chg="add mod">
          <ac:chgData name="Katerine Schifino" userId="37bb67de-9fcf-4611-888c-7e5b58184a2a" providerId="ADAL" clId="{58C35E70-9B3E-4909-9CC8-3720A011650A}" dt="2022-02-21T20:08:27.994" v="1664" actId="1076"/>
          <ac:picMkLst>
            <pc:docMk/>
            <pc:sldMk cId="2549410134" sldId="2146846071"/>
            <ac:picMk id="24590" creationId="{76FF6099-6AF5-477C-AED7-D19BE1DDBF03}"/>
          </ac:picMkLst>
        </pc:picChg>
        <pc:picChg chg="add mod">
          <ac:chgData name="Katerine Schifino" userId="37bb67de-9fcf-4611-888c-7e5b58184a2a" providerId="ADAL" clId="{58C35E70-9B3E-4909-9CC8-3720A011650A}" dt="2022-02-21T20:13:18.961" v="1699" actId="1076"/>
          <ac:picMkLst>
            <pc:docMk/>
            <pc:sldMk cId="2549410134" sldId="2146846071"/>
            <ac:picMk id="24592" creationId="{1586548B-FCE7-4369-9422-9E3710FDE0E2}"/>
          </ac:picMkLst>
        </pc:picChg>
        <pc:picChg chg="add del mod">
          <ac:chgData name="Katerine Schifino" userId="37bb67de-9fcf-4611-888c-7e5b58184a2a" providerId="ADAL" clId="{58C35E70-9B3E-4909-9CC8-3720A011650A}" dt="2022-02-21T20:10:24.830" v="1696" actId="478"/>
          <ac:picMkLst>
            <pc:docMk/>
            <pc:sldMk cId="2549410134" sldId="2146846071"/>
            <ac:picMk id="24594" creationId="{F37669F9-8B56-4200-8345-A530B5FEA4CC}"/>
          </ac:picMkLst>
        </pc:picChg>
        <pc:picChg chg="add del">
          <ac:chgData name="Katerine Schifino" userId="37bb67de-9fcf-4611-888c-7e5b58184a2a" providerId="ADAL" clId="{58C35E70-9B3E-4909-9CC8-3720A011650A}" dt="2022-02-21T20:12:09.635" v="1698" actId="478"/>
          <ac:picMkLst>
            <pc:docMk/>
            <pc:sldMk cId="2549410134" sldId="2146846071"/>
            <ac:picMk id="24596" creationId="{A2DE651A-B2D6-4309-9572-0CCB369E4229}"/>
          </ac:picMkLst>
        </pc:picChg>
      </pc:sldChg>
      <pc:sldChg chg="modSp add mod">
        <pc:chgData name="Katerine Schifino" userId="37bb67de-9fcf-4611-888c-7e5b58184a2a" providerId="ADAL" clId="{58C35E70-9B3E-4909-9CC8-3720A011650A}" dt="2022-02-21T16:41:24.463" v="242" actId="403"/>
        <pc:sldMkLst>
          <pc:docMk/>
          <pc:sldMk cId="3524774641" sldId="2146846072"/>
        </pc:sldMkLst>
        <pc:spChg chg="mod">
          <ac:chgData name="Katerine Schifino" userId="37bb67de-9fcf-4611-888c-7e5b58184a2a" providerId="ADAL" clId="{58C35E70-9B3E-4909-9CC8-3720A011650A}" dt="2022-02-21T16:41:24.463" v="242" actId="403"/>
          <ac:spMkLst>
            <pc:docMk/>
            <pc:sldMk cId="3524774641" sldId="2146846072"/>
            <ac:spMk id="2" creationId="{C0E9A057-F805-4750-9C97-49B491EDA40C}"/>
          </ac:spMkLst>
        </pc:spChg>
        <pc:spChg chg="mod">
          <ac:chgData name="Katerine Schifino" userId="37bb67de-9fcf-4611-888c-7e5b58184a2a" providerId="ADAL" clId="{58C35E70-9B3E-4909-9CC8-3720A011650A}" dt="2022-02-21T16:40:43.553" v="234" actId="20577"/>
          <ac:spMkLst>
            <pc:docMk/>
            <pc:sldMk cId="3524774641" sldId="2146846072"/>
            <ac:spMk id="3" creationId="{F4A95292-C17D-4596-AC2A-D617A46EBAA8}"/>
          </ac:spMkLst>
        </pc:spChg>
      </pc:sldChg>
      <pc:sldChg chg="addSp delSp modSp add mod">
        <pc:chgData name="Katerine Schifino" userId="37bb67de-9fcf-4611-888c-7e5b58184a2a" providerId="ADAL" clId="{58C35E70-9B3E-4909-9CC8-3720A011650A}" dt="2022-02-21T17:34:11.693" v="754" actId="465"/>
        <pc:sldMkLst>
          <pc:docMk/>
          <pc:sldMk cId="3793491072" sldId="2146846073"/>
        </pc:sldMkLst>
        <pc:spChg chg="add mod ord">
          <ac:chgData name="Katerine Schifino" userId="37bb67de-9fcf-4611-888c-7e5b58184a2a" providerId="ADAL" clId="{58C35E70-9B3E-4909-9CC8-3720A011650A}" dt="2022-02-21T17:33:16.901" v="626" actId="1076"/>
          <ac:spMkLst>
            <pc:docMk/>
            <pc:sldMk cId="3793491072" sldId="2146846073"/>
            <ac:spMk id="2" creationId="{7D1E7581-7C4D-4F3D-B72D-B1CC3F8D661A}"/>
          </ac:spMkLst>
        </pc:spChg>
        <pc:spChg chg="add mod">
          <ac:chgData name="Katerine Schifino" userId="37bb67de-9fcf-4611-888c-7e5b58184a2a" providerId="ADAL" clId="{58C35E70-9B3E-4909-9CC8-3720A011650A}" dt="2022-02-21T17:32:45.624" v="617" actId="403"/>
          <ac:spMkLst>
            <pc:docMk/>
            <pc:sldMk cId="3793491072" sldId="2146846073"/>
            <ac:spMk id="3" creationId="{ECC28DE0-D80C-4C93-BADC-8B952BE33F60}"/>
          </ac:spMkLst>
        </pc:spChg>
        <pc:spChg chg="add mod">
          <ac:chgData name="Katerine Schifino" userId="37bb67de-9fcf-4611-888c-7e5b58184a2a" providerId="ADAL" clId="{58C35E70-9B3E-4909-9CC8-3720A011650A}" dt="2022-02-21T17:32:45.624" v="617" actId="403"/>
          <ac:spMkLst>
            <pc:docMk/>
            <pc:sldMk cId="3793491072" sldId="2146846073"/>
            <ac:spMk id="4" creationId="{3EAC8774-2EB2-4E56-A5AC-464AAA17B343}"/>
          </ac:spMkLst>
        </pc:spChg>
        <pc:spChg chg="add mod ord">
          <ac:chgData name="Katerine Schifino" userId="37bb67de-9fcf-4611-888c-7e5b58184a2a" providerId="ADAL" clId="{58C35E70-9B3E-4909-9CC8-3720A011650A}" dt="2022-02-21T17:33:13.517" v="625" actId="1076"/>
          <ac:spMkLst>
            <pc:docMk/>
            <pc:sldMk cId="3793491072" sldId="2146846073"/>
            <ac:spMk id="5" creationId="{2E8278F1-F447-4967-873C-C06978C96C2E}"/>
          </ac:spMkLst>
        </pc:spChg>
        <pc:spChg chg="add del mod">
          <ac:chgData name="Katerine Schifino" userId="37bb67de-9fcf-4611-888c-7e5b58184a2a" providerId="ADAL" clId="{58C35E70-9B3E-4909-9CC8-3720A011650A}" dt="2022-02-21T17:29:41.151" v="569" actId="478"/>
          <ac:spMkLst>
            <pc:docMk/>
            <pc:sldMk cId="3793491072" sldId="2146846073"/>
            <ac:spMk id="7" creationId="{1BB35ADD-6FCF-417D-93B9-EE6F27ACA147}"/>
          </ac:spMkLst>
        </pc:spChg>
        <pc:spChg chg="add mod ord">
          <ac:chgData name="Katerine Schifino" userId="37bb67de-9fcf-4611-888c-7e5b58184a2a" providerId="ADAL" clId="{58C35E70-9B3E-4909-9CC8-3720A011650A}" dt="2022-02-21T17:33:00.706" v="621" actId="1076"/>
          <ac:spMkLst>
            <pc:docMk/>
            <pc:sldMk cId="3793491072" sldId="2146846073"/>
            <ac:spMk id="8" creationId="{75811886-FB9B-4A63-8A04-80B055F67E06}"/>
          </ac:spMkLst>
        </pc:spChg>
        <pc:spChg chg="add mod ord">
          <ac:chgData name="Katerine Schifino" userId="37bb67de-9fcf-4611-888c-7e5b58184a2a" providerId="ADAL" clId="{58C35E70-9B3E-4909-9CC8-3720A011650A}" dt="2022-02-21T17:32:45.624" v="617" actId="403"/>
          <ac:spMkLst>
            <pc:docMk/>
            <pc:sldMk cId="3793491072" sldId="2146846073"/>
            <ac:spMk id="9" creationId="{2753F1A8-3F72-467D-AA69-BE3F7F2AB667}"/>
          </ac:spMkLst>
        </pc:spChg>
        <pc:spChg chg="mod">
          <ac:chgData name="Katerine Schifino" userId="37bb67de-9fcf-4611-888c-7e5b58184a2a" providerId="ADAL" clId="{58C35E70-9B3E-4909-9CC8-3720A011650A}" dt="2022-02-21T17:01:54.480" v="349" actId="20577"/>
          <ac:spMkLst>
            <pc:docMk/>
            <pc:sldMk cId="3793491072" sldId="2146846073"/>
            <ac:spMk id="10" creationId="{5FEBD768-6CBB-4D42-B186-30EDCE4EE10B}"/>
          </ac:spMkLst>
        </pc:spChg>
        <pc:spChg chg="mod">
          <ac:chgData name="Katerine Schifino" userId="37bb67de-9fcf-4611-888c-7e5b58184a2a" providerId="ADAL" clId="{58C35E70-9B3E-4909-9CC8-3720A011650A}" dt="2022-02-21T17:32:45.624" v="617" actId="403"/>
          <ac:spMkLst>
            <pc:docMk/>
            <pc:sldMk cId="3793491072" sldId="2146846073"/>
            <ac:spMk id="13" creationId="{FA62B380-3518-47F2-BC28-1063D267A369}"/>
          </ac:spMkLst>
        </pc:spChg>
        <pc:spChg chg="mod">
          <ac:chgData name="Katerine Schifino" userId="37bb67de-9fcf-4611-888c-7e5b58184a2a" providerId="ADAL" clId="{58C35E70-9B3E-4909-9CC8-3720A011650A}" dt="2022-02-21T17:32:45.624" v="617" actId="403"/>
          <ac:spMkLst>
            <pc:docMk/>
            <pc:sldMk cId="3793491072" sldId="2146846073"/>
            <ac:spMk id="14" creationId="{EDDA3CBE-C062-4919-BD9D-92B57C9B9316}"/>
          </ac:spMkLst>
        </pc:spChg>
        <pc:spChg chg="mod">
          <ac:chgData name="Katerine Schifino" userId="37bb67de-9fcf-4611-888c-7e5b58184a2a" providerId="ADAL" clId="{58C35E70-9B3E-4909-9CC8-3720A011650A}" dt="2022-02-21T17:32:45.624" v="617" actId="403"/>
          <ac:spMkLst>
            <pc:docMk/>
            <pc:sldMk cId="3793491072" sldId="2146846073"/>
            <ac:spMk id="16" creationId="{09CAA486-60FD-49E0-8AEB-E77A044B6783}"/>
          </ac:spMkLst>
        </pc:spChg>
        <pc:spChg chg="mod">
          <ac:chgData name="Katerine Schifino" userId="37bb67de-9fcf-4611-888c-7e5b58184a2a" providerId="ADAL" clId="{58C35E70-9B3E-4909-9CC8-3720A011650A}" dt="2022-02-21T17:32:45.624" v="617" actId="403"/>
          <ac:spMkLst>
            <pc:docMk/>
            <pc:sldMk cId="3793491072" sldId="2146846073"/>
            <ac:spMk id="17" creationId="{9BD7DE2B-43B1-49FA-A273-07047ABC6A90}"/>
          </ac:spMkLst>
        </pc:spChg>
        <pc:spChg chg="mod">
          <ac:chgData name="Katerine Schifino" userId="37bb67de-9fcf-4611-888c-7e5b58184a2a" providerId="ADAL" clId="{58C35E70-9B3E-4909-9CC8-3720A011650A}" dt="2022-02-21T17:32:45.624" v="617" actId="403"/>
          <ac:spMkLst>
            <pc:docMk/>
            <pc:sldMk cId="3793491072" sldId="2146846073"/>
            <ac:spMk id="19" creationId="{EECDE2B8-550A-48A0-854B-2CEF3E8D263B}"/>
          </ac:spMkLst>
        </pc:spChg>
        <pc:spChg chg="mod">
          <ac:chgData name="Katerine Schifino" userId="37bb67de-9fcf-4611-888c-7e5b58184a2a" providerId="ADAL" clId="{58C35E70-9B3E-4909-9CC8-3720A011650A}" dt="2022-02-21T17:32:45.624" v="617" actId="403"/>
          <ac:spMkLst>
            <pc:docMk/>
            <pc:sldMk cId="3793491072" sldId="2146846073"/>
            <ac:spMk id="20" creationId="{B3065D60-ACD5-4354-B67A-FDFBF4CDE095}"/>
          </ac:spMkLst>
        </pc:spChg>
        <pc:spChg chg="mod">
          <ac:chgData name="Katerine Schifino" userId="37bb67de-9fcf-4611-888c-7e5b58184a2a" providerId="ADAL" clId="{58C35E70-9B3E-4909-9CC8-3720A011650A}" dt="2022-02-21T17:32:45.624" v="617" actId="403"/>
          <ac:spMkLst>
            <pc:docMk/>
            <pc:sldMk cId="3793491072" sldId="2146846073"/>
            <ac:spMk id="22" creationId="{A43A33CE-B388-4202-B64D-596FC2E53C71}"/>
          </ac:spMkLst>
        </pc:spChg>
        <pc:spChg chg="mod">
          <ac:chgData name="Katerine Schifino" userId="37bb67de-9fcf-4611-888c-7e5b58184a2a" providerId="ADAL" clId="{58C35E70-9B3E-4909-9CC8-3720A011650A}" dt="2022-02-21T17:32:45.624" v="617" actId="403"/>
          <ac:spMkLst>
            <pc:docMk/>
            <pc:sldMk cId="3793491072" sldId="2146846073"/>
            <ac:spMk id="23" creationId="{9A25CE19-2925-4B65-B33D-3D12060DDE32}"/>
          </ac:spMkLst>
        </pc:spChg>
        <pc:spChg chg="add mod">
          <ac:chgData name="Katerine Schifino" userId="37bb67de-9fcf-4611-888c-7e5b58184a2a" providerId="ADAL" clId="{58C35E70-9B3E-4909-9CC8-3720A011650A}" dt="2022-02-21T17:33:05.668" v="623" actId="14100"/>
          <ac:spMkLst>
            <pc:docMk/>
            <pc:sldMk cId="3793491072" sldId="2146846073"/>
            <ac:spMk id="24" creationId="{B8AF4EFE-E8FB-40F7-9837-1CF26F2E0C41}"/>
          </ac:spMkLst>
        </pc:spChg>
        <pc:grpChg chg="add mod">
          <ac:chgData name="Katerine Schifino" userId="37bb67de-9fcf-4611-888c-7e5b58184a2a" providerId="ADAL" clId="{58C35E70-9B3E-4909-9CC8-3720A011650A}" dt="2022-02-21T17:32:28.728" v="615" actId="164"/>
          <ac:grpSpMkLst>
            <pc:docMk/>
            <pc:sldMk cId="3793491072" sldId="2146846073"/>
            <ac:grpSpMk id="11" creationId="{EB8D5658-1CF4-47FF-9ABD-765E3795EDA8}"/>
          </ac:grpSpMkLst>
        </pc:grpChg>
        <pc:grpChg chg="add mod">
          <ac:chgData name="Katerine Schifino" userId="37bb67de-9fcf-4611-888c-7e5b58184a2a" providerId="ADAL" clId="{58C35E70-9B3E-4909-9CC8-3720A011650A}" dt="2022-02-21T17:32:26.372" v="614" actId="164"/>
          <ac:grpSpMkLst>
            <pc:docMk/>
            <pc:sldMk cId="3793491072" sldId="2146846073"/>
            <ac:grpSpMk id="12" creationId="{B271CF2D-A899-49F4-BE06-382E4DE7B654}"/>
          </ac:grpSpMkLst>
        </pc:grpChg>
        <pc:grpChg chg="add mod">
          <ac:chgData name="Katerine Schifino" userId="37bb67de-9fcf-4611-888c-7e5b58184a2a" providerId="ADAL" clId="{58C35E70-9B3E-4909-9CC8-3720A011650A}" dt="2022-02-21T17:32:23.223" v="613" actId="164"/>
          <ac:grpSpMkLst>
            <pc:docMk/>
            <pc:sldMk cId="3793491072" sldId="2146846073"/>
            <ac:grpSpMk id="15" creationId="{CC95DCEF-9A72-4893-A668-D53F6E5AA831}"/>
          </ac:grpSpMkLst>
        </pc:grpChg>
        <pc:grpChg chg="add mod">
          <ac:chgData name="Katerine Schifino" userId="37bb67de-9fcf-4611-888c-7e5b58184a2a" providerId="ADAL" clId="{58C35E70-9B3E-4909-9CC8-3720A011650A}" dt="2022-02-21T17:32:18.830" v="612" actId="164"/>
          <ac:grpSpMkLst>
            <pc:docMk/>
            <pc:sldMk cId="3793491072" sldId="2146846073"/>
            <ac:grpSpMk id="18" creationId="{06FB4323-A6FF-4DD9-9485-4D561852F86D}"/>
          </ac:grpSpMkLst>
        </pc:grpChg>
        <pc:grpChg chg="add mod">
          <ac:chgData name="Katerine Schifino" userId="37bb67de-9fcf-4611-888c-7e5b58184a2a" providerId="ADAL" clId="{58C35E70-9B3E-4909-9CC8-3720A011650A}" dt="2022-02-21T17:32:16.740" v="611" actId="164"/>
          <ac:grpSpMkLst>
            <pc:docMk/>
            <pc:sldMk cId="3793491072" sldId="2146846073"/>
            <ac:grpSpMk id="21" creationId="{64918B2F-ED0D-4F3E-863E-5CE59687F0EF}"/>
          </ac:grpSpMkLst>
        </pc:grpChg>
        <pc:grpChg chg="add mod">
          <ac:chgData name="Katerine Schifino" userId="37bb67de-9fcf-4611-888c-7e5b58184a2a" providerId="ADAL" clId="{58C35E70-9B3E-4909-9CC8-3720A011650A}" dt="2022-02-21T17:34:05.600" v="753" actId="1036"/>
          <ac:grpSpMkLst>
            <pc:docMk/>
            <pc:sldMk cId="3793491072" sldId="2146846073"/>
            <ac:grpSpMk id="25" creationId="{4737819D-3287-4FD8-A426-4038FC5244D0}"/>
          </ac:grpSpMkLst>
        </pc:grpChg>
        <pc:grpChg chg="add mod">
          <ac:chgData name="Katerine Schifino" userId="37bb67de-9fcf-4611-888c-7e5b58184a2a" providerId="ADAL" clId="{58C35E70-9B3E-4909-9CC8-3720A011650A}" dt="2022-02-21T17:34:11.693" v="754" actId="465"/>
          <ac:grpSpMkLst>
            <pc:docMk/>
            <pc:sldMk cId="3793491072" sldId="2146846073"/>
            <ac:grpSpMk id="26" creationId="{8CA50F32-EBEF-4061-B4CF-E9A6A7CD74A4}"/>
          </ac:grpSpMkLst>
        </pc:grpChg>
        <pc:grpChg chg="add mod">
          <ac:chgData name="Katerine Schifino" userId="37bb67de-9fcf-4611-888c-7e5b58184a2a" providerId="ADAL" clId="{58C35E70-9B3E-4909-9CC8-3720A011650A}" dt="2022-02-21T17:34:11.693" v="754" actId="465"/>
          <ac:grpSpMkLst>
            <pc:docMk/>
            <pc:sldMk cId="3793491072" sldId="2146846073"/>
            <ac:grpSpMk id="27" creationId="{F7CA5E9D-AAAD-4A3F-A38D-A4641DD53A50}"/>
          </ac:grpSpMkLst>
        </pc:grpChg>
        <pc:grpChg chg="add mod">
          <ac:chgData name="Katerine Schifino" userId="37bb67de-9fcf-4611-888c-7e5b58184a2a" providerId="ADAL" clId="{58C35E70-9B3E-4909-9CC8-3720A011650A}" dt="2022-02-21T17:34:11.693" v="754" actId="465"/>
          <ac:grpSpMkLst>
            <pc:docMk/>
            <pc:sldMk cId="3793491072" sldId="2146846073"/>
            <ac:grpSpMk id="28" creationId="{A9C3CC64-0226-4375-86E6-A7E4925D6A30}"/>
          </ac:grpSpMkLst>
        </pc:grpChg>
        <pc:grpChg chg="add mod">
          <ac:chgData name="Katerine Schifino" userId="37bb67de-9fcf-4611-888c-7e5b58184a2a" providerId="ADAL" clId="{58C35E70-9B3E-4909-9CC8-3720A011650A}" dt="2022-02-21T17:33:50.270" v="738" actId="1037"/>
          <ac:grpSpMkLst>
            <pc:docMk/>
            <pc:sldMk cId="3793491072" sldId="2146846073"/>
            <ac:grpSpMk id="29" creationId="{E52FC0A8-3EB5-4652-AD8B-1EE657854A4C}"/>
          </ac:grpSpMkLst>
        </pc:grpChg>
        <pc:picChg chg="del mod">
          <ac:chgData name="Katerine Schifino" userId="37bb67de-9fcf-4611-888c-7e5b58184a2a" providerId="ADAL" clId="{58C35E70-9B3E-4909-9CC8-3720A011650A}" dt="2022-02-21T17:25:17.171" v="493" actId="478"/>
          <ac:picMkLst>
            <pc:docMk/>
            <pc:sldMk cId="3793491072" sldId="2146846073"/>
            <ac:picMk id="6" creationId="{1BD37B16-FFCA-4A46-9EF7-42730F41E1F4}"/>
          </ac:picMkLst>
        </pc:picChg>
      </pc:sldChg>
      <pc:sldChg chg="addSp delSp add del mod">
        <pc:chgData name="Katerine Schifino" userId="37bb67de-9fcf-4611-888c-7e5b58184a2a" providerId="ADAL" clId="{58C35E70-9B3E-4909-9CC8-3720A011650A}" dt="2022-02-21T17:34:54.295" v="759" actId="47"/>
        <pc:sldMkLst>
          <pc:docMk/>
          <pc:sldMk cId="3182343670" sldId="2146846074"/>
        </pc:sldMkLst>
        <pc:spChg chg="add">
          <ac:chgData name="Katerine Schifino" userId="37bb67de-9fcf-4611-888c-7e5b58184a2a" providerId="ADAL" clId="{58C35E70-9B3E-4909-9CC8-3720A011650A}" dt="2022-02-21T17:34:35.677" v="758" actId="11529"/>
          <ac:spMkLst>
            <pc:docMk/>
            <pc:sldMk cId="3182343670" sldId="2146846074"/>
            <ac:spMk id="6" creationId="{B644A6CA-D973-41D2-910D-BF5B3F20D50C}"/>
          </ac:spMkLst>
        </pc:spChg>
        <pc:grpChg chg="add del">
          <ac:chgData name="Katerine Schifino" userId="37bb67de-9fcf-4611-888c-7e5b58184a2a" providerId="ADAL" clId="{58C35E70-9B3E-4909-9CC8-3720A011650A}" dt="2022-02-21T17:34:20.322" v="757" actId="478"/>
          <ac:grpSpMkLst>
            <pc:docMk/>
            <pc:sldMk cId="3182343670" sldId="2146846074"/>
            <ac:grpSpMk id="25" creationId="{4737819D-3287-4FD8-A426-4038FC5244D0}"/>
          </ac:grpSpMkLst>
        </pc:grpChg>
        <pc:grpChg chg="add del">
          <ac:chgData name="Katerine Schifino" userId="37bb67de-9fcf-4611-888c-7e5b58184a2a" providerId="ADAL" clId="{58C35E70-9B3E-4909-9CC8-3720A011650A}" dt="2022-02-21T17:34:20.322" v="757" actId="478"/>
          <ac:grpSpMkLst>
            <pc:docMk/>
            <pc:sldMk cId="3182343670" sldId="2146846074"/>
            <ac:grpSpMk id="26" creationId="{8CA50F32-EBEF-4061-B4CF-E9A6A7CD74A4}"/>
          </ac:grpSpMkLst>
        </pc:grpChg>
        <pc:grpChg chg="add del">
          <ac:chgData name="Katerine Schifino" userId="37bb67de-9fcf-4611-888c-7e5b58184a2a" providerId="ADAL" clId="{58C35E70-9B3E-4909-9CC8-3720A011650A}" dt="2022-02-21T17:34:20.322" v="757" actId="478"/>
          <ac:grpSpMkLst>
            <pc:docMk/>
            <pc:sldMk cId="3182343670" sldId="2146846074"/>
            <ac:grpSpMk id="27" creationId="{F7CA5E9D-AAAD-4A3F-A38D-A4641DD53A50}"/>
          </ac:grpSpMkLst>
        </pc:grpChg>
        <pc:grpChg chg="add del">
          <ac:chgData name="Katerine Schifino" userId="37bb67de-9fcf-4611-888c-7e5b58184a2a" providerId="ADAL" clId="{58C35E70-9B3E-4909-9CC8-3720A011650A}" dt="2022-02-21T17:34:20.322" v="757" actId="478"/>
          <ac:grpSpMkLst>
            <pc:docMk/>
            <pc:sldMk cId="3182343670" sldId="2146846074"/>
            <ac:grpSpMk id="28" creationId="{A9C3CC64-0226-4375-86E6-A7E4925D6A30}"/>
          </ac:grpSpMkLst>
        </pc:grpChg>
      </pc:sldChg>
      <pc:sldChg chg="addSp delSp modSp add mod">
        <pc:chgData name="Katerine Schifino" userId="37bb67de-9fcf-4611-888c-7e5b58184a2a" providerId="ADAL" clId="{58C35E70-9B3E-4909-9CC8-3720A011650A}" dt="2022-02-21T21:16:39.615" v="2599" actId="1076"/>
        <pc:sldMkLst>
          <pc:docMk/>
          <pc:sldMk cId="3342687271" sldId="2146846074"/>
        </pc:sldMkLst>
        <pc:spChg chg="add del mod">
          <ac:chgData name="Katerine Schifino" userId="37bb67de-9fcf-4611-888c-7e5b58184a2a" providerId="ADAL" clId="{58C35E70-9B3E-4909-9CC8-3720A011650A}" dt="2022-02-21T20:34:07.426" v="1918" actId="1035"/>
          <ac:spMkLst>
            <pc:docMk/>
            <pc:sldMk cId="3342687271" sldId="2146846074"/>
            <ac:spMk id="30" creationId="{96175DBC-EF98-4269-9912-6AFF58CC975F}"/>
          </ac:spMkLst>
        </pc:spChg>
        <pc:spChg chg="add del mod">
          <ac:chgData name="Katerine Schifino" userId="37bb67de-9fcf-4611-888c-7e5b58184a2a" providerId="ADAL" clId="{58C35E70-9B3E-4909-9CC8-3720A011650A}" dt="2022-02-21T20:34:07.426" v="1918" actId="1035"/>
          <ac:spMkLst>
            <pc:docMk/>
            <pc:sldMk cId="3342687271" sldId="2146846074"/>
            <ac:spMk id="31" creationId="{C023A83F-3A10-4785-9C83-3A0A245274F1}"/>
          </ac:spMkLst>
        </pc:spChg>
        <pc:spChg chg="add del mod">
          <ac:chgData name="Katerine Schifino" userId="37bb67de-9fcf-4611-888c-7e5b58184a2a" providerId="ADAL" clId="{58C35E70-9B3E-4909-9CC8-3720A011650A}" dt="2022-02-21T20:34:07.426" v="1918" actId="1035"/>
          <ac:spMkLst>
            <pc:docMk/>
            <pc:sldMk cId="3342687271" sldId="2146846074"/>
            <ac:spMk id="32" creationId="{1CB52CE4-5AA4-4F93-AE4F-7832F62BAB38}"/>
          </ac:spMkLst>
        </pc:spChg>
        <pc:spChg chg="add del mod">
          <ac:chgData name="Katerine Schifino" userId="37bb67de-9fcf-4611-888c-7e5b58184a2a" providerId="ADAL" clId="{58C35E70-9B3E-4909-9CC8-3720A011650A}" dt="2022-02-21T20:34:07.426" v="1918" actId="1035"/>
          <ac:spMkLst>
            <pc:docMk/>
            <pc:sldMk cId="3342687271" sldId="2146846074"/>
            <ac:spMk id="33" creationId="{FE0DC58E-9260-4BDE-A300-EA656C4498D0}"/>
          </ac:spMkLst>
        </pc:spChg>
        <pc:spChg chg="add mod">
          <ac:chgData name="Katerine Schifino" userId="37bb67de-9fcf-4611-888c-7e5b58184a2a" providerId="ADAL" clId="{58C35E70-9B3E-4909-9CC8-3720A011650A}" dt="2022-02-21T21:16:34.073" v="2597" actId="14100"/>
          <ac:spMkLst>
            <pc:docMk/>
            <pc:sldMk cId="3342687271" sldId="2146846074"/>
            <ac:spMk id="35" creationId="{77D14B14-1255-4834-823A-253A1AEA044A}"/>
          </ac:spMkLst>
        </pc:spChg>
        <pc:spChg chg="add del mod">
          <ac:chgData name="Katerine Schifino" userId="37bb67de-9fcf-4611-888c-7e5b58184a2a" providerId="ADAL" clId="{58C35E70-9B3E-4909-9CC8-3720A011650A}" dt="2022-02-21T17:44:20.179" v="862" actId="478"/>
          <ac:spMkLst>
            <pc:docMk/>
            <pc:sldMk cId="3342687271" sldId="2146846074"/>
            <ac:spMk id="36" creationId="{951A8766-D421-4F14-A74B-EFA6B26773F8}"/>
          </ac:spMkLst>
        </pc:spChg>
        <pc:spChg chg="add mod">
          <ac:chgData name="Katerine Schifino" userId="37bb67de-9fcf-4611-888c-7e5b58184a2a" providerId="ADAL" clId="{58C35E70-9B3E-4909-9CC8-3720A011650A}" dt="2022-02-21T21:16:37.373" v="2598" actId="1076"/>
          <ac:spMkLst>
            <pc:docMk/>
            <pc:sldMk cId="3342687271" sldId="2146846074"/>
            <ac:spMk id="38" creationId="{225527A3-72E2-4021-82D0-CFB6F9D5109D}"/>
          </ac:spMkLst>
        </pc:spChg>
        <pc:spChg chg="add mod">
          <ac:chgData name="Katerine Schifino" userId="37bb67de-9fcf-4611-888c-7e5b58184a2a" providerId="ADAL" clId="{58C35E70-9B3E-4909-9CC8-3720A011650A}" dt="2022-02-21T21:16:39.615" v="2599" actId="1076"/>
          <ac:spMkLst>
            <pc:docMk/>
            <pc:sldMk cId="3342687271" sldId="2146846074"/>
            <ac:spMk id="40" creationId="{AC62EF07-EC7D-4E44-91A3-E8FE1BCAEF67}"/>
          </ac:spMkLst>
        </pc:spChg>
        <pc:spChg chg="mod">
          <ac:chgData name="Katerine Schifino" userId="37bb67de-9fcf-4611-888c-7e5b58184a2a" providerId="ADAL" clId="{58C35E70-9B3E-4909-9CC8-3720A011650A}" dt="2022-02-21T17:55:26.627" v="950"/>
          <ac:spMkLst>
            <pc:docMk/>
            <pc:sldMk cId="3342687271" sldId="2146846074"/>
            <ac:spMk id="43" creationId="{6FC3429E-FBDA-43CA-9C9B-5D3BB2BFE4FE}"/>
          </ac:spMkLst>
        </pc:spChg>
        <pc:spChg chg="mod">
          <ac:chgData name="Katerine Schifino" userId="37bb67de-9fcf-4611-888c-7e5b58184a2a" providerId="ADAL" clId="{58C35E70-9B3E-4909-9CC8-3720A011650A}" dt="2022-02-21T21:11:47.825" v="2555" actId="14100"/>
          <ac:spMkLst>
            <pc:docMk/>
            <pc:sldMk cId="3342687271" sldId="2146846074"/>
            <ac:spMk id="44" creationId="{0CFABD67-F497-41F4-9063-5B09667B9736}"/>
          </ac:spMkLst>
        </pc:spChg>
        <pc:spChg chg="mod">
          <ac:chgData name="Katerine Schifino" userId="37bb67de-9fcf-4611-888c-7e5b58184a2a" providerId="ADAL" clId="{58C35E70-9B3E-4909-9CC8-3720A011650A}" dt="2022-02-21T17:55:26.627" v="950"/>
          <ac:spMkLst>
            <pc:docMk/>
            <pc:sldMk cId="3342687271" sldId="2146846074"/>
            <ac:spMk id="45" creationId="{EA5C77CF-57AB-4443-B436-90435E539A57}"/>
          </ac:spMkLst>
        </pc:spChg>
        <pc:grpChg chg="del">
          <ac:chgData name="Katerine Schifino" userId="37bb67de-9fcf-4611-888c-7e5b58184a2a" providerId="ADAL" clId="{58C35E70-9B3E-4909-9CC8-3720A011650A}" dt="2022-02-21T17:34:59.185" v="761" actId="478"/>
          <ac:grpSpMkLst>
            <pc:docMk/>
            <pc:sldMk cId="3342687271" sldId="2146846074"/>
            <ac:grpSpMk id="25" creationId="{4737819D-3287-4FD8-A426-4038FC5244D0}"/>
          </ac:grpSpMkLst>
        </pc:grpChg>
        <pc:grpChg chg="del">
          <ac:chgData name="Katerine Schifino" userId="37bb67de-9fcf-4611-888c-7e5b58184a2a" providerId="ADAL" clId="{58C35E70-9B3E-4909-9CC8-3720A011650A}" dt="2022-02-21T17:34:59.185" v="761" actId="478"/>
          <ac:grpSpMkLst>
            <pc:docMk/>
            <pc:sldMk cId="3342687271" sldId="2146846074"/>
            <ac:grpSpMk id="26" creationId="{8CA50F32-EBEF-4061-B4CF-E9A6A7CD74A4}"/>
          </ac:grpSpMkLst>
        </pc:grpChg>
        <pc:grpChg chg="del">
          <ac:chgData name="Katerine Schifino" userId="37bb67de-9fcf-4611-888c-7e5b58184a2a" providerId="ADAL" clId="{58C35E70-9B3E-4909-9CC8-3720A011650A}" dt="2022-02-21T17:34:59.185" v="761" actId="478"/>
          <ac:grpSpMkLst>
            <pc:docMk/>
            <pc:sldMk cId="3342687271" sldId="2146846074"/>
            <ac:grpSpMk id="27" creationId="{F7CA5E9D-AAAD-4A3F-A38D-A4641DD53A50}"/>
          </ac:grpSpMkLst>
        </pc:grpChg>
        <pc:grpChg chg="del">
          <ac:chgData name="Katerine Schifino" userId="37bb67de-9fcf-4611-888c-7e5b58184a2a" providerId="ADAL" clId="{58C35E70-9B3E-4909-9CC8-3720A011650A}" dt="2022-02-21T17:34:59.185" v="761" actId="478"/>
          <ac:grpSpMkLst>
            <pc:docMk/>
            <pc:sldMk cId="3342687271" sldId="2146846074"/>
            <ac:grpSpMk id="28" creationId="{A9C3CC64-0226-4375-86E6-A7E4925D6A30}"/>
          </ac:grpSpMkLst>
        </pc:grpChg>
        <pc:grpChg chg="del mod">
          <ac:chgData name="Katerine Schifino" userId="37bb67de-9fcf-4611-888c-7e5b58184a2a" providerId="ADAL" clId="{58C35E70-9B3E-4909-9CC8-3720A011650A}" dt="2022-02-21T17:55:26.138" v="949" actId="478"/>
          <ac:grpSpMkLst>
            <pc:docMk/>
            <pc:sldMk cId="3342687271" sldId="2146846074"/>
            <ac:grpSpMk id="29" creationId="{E52FC0A8-3EB5-4652-AD8B-1EE657854A4C}"/>
          </ac:grpSpMkLst>
        </pc:grpChg>
        <pc:grpChg chg="add mod">
          <ac:chgData name="Katerine Schifino" userId="37bb67de-9fcf-4611-888c-7e5b58184a2a" providerId="ADAL" clId="{58C35E70-9B3E-4909-9CC8-3720A011650A}" dt="2022-02-21T20:34:07.426" v="1918" actId="1035"/>
          <ac:grpSpMkLst>
            <pc:docMk/>
            <pc:sldMk cId="3342687271" sldId="2146846074"/>
            <ac:grpSpMk id="41" creationId="{46F068F2-C604-43ED-AF9F-C341F7C3D486}"/>
          </ac:grpSpMkLst>
        </pc:grpChg>
        <pc:grpChg chg="mod">
          <ac:chgData name="Katerine Schifino" userId="37bb67de-9fcf-4611-888c-7e5b58184a2a" providerId="ADAL" clId="{58C35E70-9B3E-4909-9CC8-3720A011650A}" dt="2022-02-21T17:55:26.627" v="950"/>
          <ac:grpSpMkLst>
            <pc:docMk/>
            <pc:sldMk cId="3342687271" sldId="2146846074"/>
            <ac:grpSpMk id="42" creationId="{FBF12FDC-7EA0-4BB1-829C-FFC1AA20C62B}"/>
          </ac:grpSpMkLst>
        </pc:grpChg>
        <pc:picChg chg="add del mod">
          <ac:chgData name="Katerine Schifino" userId="37bb67de-9fcf-4611-888c-7e5b58184a2a" providerId="ADAL" clId="{58C35E70-9B3E-4909-9CC8-3720A011650A}" dt="2022-02-21T17:37:06.111" v="790" actId="478"/>
          <ac:picMkLst>
            <pc:docMk/>
            <pc:sldMk cId="3342687271" sldId="2146846074"/>
            <ac:picMk id="7" creationId="{140A4947-5832-42F7-BC1D-23AB6181C4FF}"/>
          </ac:picMkLst>
        </pc:picChg>
      </pc:sldChg>
      <pc:sldChg chg="addSp delSp modSp add mod">
        <pc:chgData name="Katerine Schifino" userId="37bb67de-9fcf-4611-888c-7e5b58184a2a" providerId="ADAL" clId="{58C35E70-9B3E-4909-9CC8-3720A011650A}" dt="2022-02-21T21:11:41.867" v="2554" actId="14100"/>
        <pc:sldMkLst>
          <pc:docMk/>
          <pc:sldMk cId="4129277709" sldId="2146846075"/>
        </pc:sldMkLst>
        <pc:spChg chg="mod">
          <ac:chgData name="Katerine Schifino" userId="37bb67de-9fcf-4611-888c-7e5b58184a2a" providerId="ADAL" clId="{58C35E70-9B3E-4909-9CC8-3720A011650A}" dt="2022-02-21T17:38:15.162" v="803"/>
          <ac:spMkLst>
            <pc:docMk/>
            <pc:sldMk cId="4129277709" sldId="2146846075"/>
            <ac:spMk id="2" creationId="{7D1E7581-7C4D-4F3D-B72D-B1CC3F8D661A}"/>
          </ac:spMkLst>
        </pc:spChg>
        <pc:spChg chg="mod">
          <ac:chgData name="Katerine Schifino" userId="37bb67de-9fcf-4611-888c-7e5b58184a2a" providerId="ADAL" clId="{58C35E70-9B3E-4909-9CC8-3720A011650A}" dt="2022-02-21T21:11:41.867" v="2554" actId="14100"/>
          <ac:spMkLst>
            <pc:docMk/>
            <pc:sldMk cId="4129277709" sldId="2146846075"/>
            <ac:spMk id="3" creationId="{ECC28DE0-D80C-4C93-BADC-8B952BE33F60}"/>
          </ac:spMkLst>
        </pc:spChg>
        <pc:spChg chg="mod">
          <ac:chgData name="Katerine Schifino" userId="37bb67de-9fcf-4611-888c-7e5b58184a2a" providerId="ADAL" clId="{58C35E70-9B3E-4909-9CC8-3720A011650A}" dt="2022-02-21T17:38:32.665" v="808" actId="207"/>
          <ac:spMkLst>
            <pc:docMk/>
            <pc:sldMk cId="4129277709" sldId="2146846075"/>
            <ac:spMk id="4" creationId="{3EAC8774-2EB2-4E56-A5AC-464AAA17B343}"/>
          </ac:spMkLst>
        </pc:spChg>
        <pc:spChg chg="add mod">
          <ac:chgData name="Katerine Schifino" userId="37bb67de-9fcf-4611-888c-7e5b58184a2a" providerId="ADAL" clId="{58C35E70-9B3E-4909-9CC8-3720A011650A}" dt="2022-02-21T20:40:07.731" v="2040" actId="164"/>
          <ac:spMkLst>
            <pc:docMk/>
            <pc:sldMk cId="4129277709" sldId="2146846075"/>
            <ac:spMk id="12" creationId="{2DE1F437-0656-4E73-9497-145F183F1EA0}"/>
          </ac:spMkLst>
        </pc:spChg>
        <pc:spChg chg="add mod">
          <ac:chgData name="Katerine Schifino" userId="37bb67de-9fcf-4611-888c-7e5b58184a2a" providerId="ADAL" clId="{58C35E70-9B3E-4909-9CC8-3720A011650A}" dt="2022-02-21T20:40:14.519" v="2050" actId="164"/>
          <ac:spMkLst>
            <pc:docMk/>
            <pc:sldMk cId="4129277709" sldId="2146846075"/>
            <ac:spMk id="13" creationId="{FF0B91B8-DD57-428B-ACAB-A4D29EDAE629}"/>
          </ac:spMkLst>
        </pc:spChg>
        <pc:spChg chg="add mod">
          <ac:chgData name="Katerine Schifino" userId="37bb67de-9fcf-4611-888c-7e5b58184a2a" providerId="ADAL" clId="{58C35E70-9B3E-4909-9CC8-3720A011650A}" dt="2022-02-21T20:40:18.234" v="2051" actId="164"/>
          <ac:spMkLst>
            <pc:docMk/>
            <pc:sldMk cId="4129277709" sldId="2146846075"/>
            <ac:spMk id="14" creationId="{41E252B9-5DAF-485F-BA2C-75AEB0AED23F}"/>
          </ac:spMkLst>
        </pc:spChg>
        <pc:spChg chg="add mod">
          <ac:chgData name="Katerine Schifino" userId="37bb67de-9fcf-4611-888c-7e5b58184a2a" providerId="ADAL" clId="{58C35E70-9B3E-4909-9CC8-3720A011650A}" dt="2022-02-21T21:10:46.500" v="2547" actId="404"/>
          <ac:spMkLst>
            <pc:docMk/>
            <pc:sldMk cId="4129277709" sldId="2146846075"/>
            <ac:spMk id="18" creationId="{A0519E15-AF6D-48AC-8DB0-FA8912E20122}"/>
          </ac:spMkLst>
        </pc:spChg>
        <pc:spChg chg="mod">
          <ac:chgData name="Katerine Schifino" userId="37bb67de-9fcf-4611-888c-7e5b58184a2a" providerId="ADAL" clId="{58C35E70-9B3E-4909-9CC8-3720A011650A}" dt="2022-02-21T20:34:27.630" v="1922"/>
          <ac:spMkLst>
            <pc:docMk/>
            <pc:sldMk cId="4129277709" sldId="2146846075"/>
            <ac:spMk id="21" creationId="{5EA17691-B29A-4872-8712-8320D26AAA79}"/>
          </ac:spMkLst>
        </pc:spChg>
        <pc:spChg chg="mod">
          <ac:chgData name="Katerine Schifino" userId="37bb67de-9fcf-4611-888c-7e5b58184a2a" providerId="ADAL" clId="{58C35E70-9B3E-4909-9CC8-3720A011650A}" dt="2022-02-21T20:34:27.630" v="1922"/>
          <ac:spMkLst>
            <pc:docMk/>
            <pc:sldMk cId="4129277709" sldId="2146846075"/>
            <ac:spMk id="22" creationId="{8F58F935-0B15-401A-877F-5FAB33729A1E}"/>
          </ac:spMkLst>
        </pc:spChg>
        <pc:spChg chg="mod">
          <ac:chgData name="Katerine Schifino" userId="37bb67de-9fcf-4611-888c-7e5b58184a2a" providerId="ADAL" clId="{58C35E70-9B3E-4909-9CC8-3720A011650A}" dt="2022-02-21T20:34:27.630" v="1922"/>
          <ac:spMkLst>
            <pc:docMk/>
            <pc:sldMk cId="4129277709" sldId="2146846075"/>
            <ac:spMk id="23" creationId="{D25AE673-2294-42CF-B24A-9B42F92C9644}"/>
          </ac:spMkLst>
        </pc:spChg>
        <pc:spChg chg="mod">
          <ac:chgData name="Katerine Schifino" userId="37bb67de-9fcf-4611-888c-7e5b58184a2a" providerId="ADAL" clId="{58C35E70-9B3E-4909-9CC8-3720A011650A}" dt="2022-02-21T20:34:37.364" v="1942" actId="1036"/>
          <ac:spMkLst>
            <pc:docMk/>
            <pc:sldMk cId="4129277709" sldId="2146846075"/>
            <ac:spMk id="30" creationId="{96175DBC-EF98-4269-9912-6AFF58CC975F}"/>
          </ac:spMkLst>
        </pc:spChg>
        <pc:spChg chg="mod">
          <ac:chgData name="Katerine Schifino" userId="37bb67de-9fcf-4611-888c-7e5b58184a2a" providerId="ADAL" clId="{58C35E70-9B3E-4909-9CC8-3720A011650A}" dt="2022-02-21T20:34:37.364" v="1942" actId="1036"/>
          <ac:spMkLst>
            <pc:docMk/>
            <pc:sldMk cId="4129277709" sldId="2146846075"/>
            <ac:spMk id="31" creationId="{C023A83F-3A10-4785-9C83-3A0A245274F1}"/>
          </ac:spMkLst>
        </pc:spChg>
        <pc:spChg chg="mod">
          <ac:chgData name="Katerine Schifino" userId="37bb67de-9fcf-4611-888c-7e5b58184a2a" providerId="ADAL" clId="{58C35E70-9B3E-4909-9CC8-3720A011650A}" dt="2022-02-21T20:34:37.364" v="1942" actId="1036"/>
          <ac:spMkLst>
            <pc:docMk/>
            <pc:sldMk cId="4129277709" sldId="2146846075"/>
            <ac:spMk id="32" creationId="{1CB52CE4-5AA4-4F93-AE4F-7832F62BAB38}"/>
          </ac:spMkLst>
        </pc:spChg>
        <pc:spChg chg="mod">
          <ac:chgData name="Katerine Schifino" userId="37bb67de-9fcf-4611-888c-7e5b58184a2a" providerId="ADAL" clId="{58C35E70-9B3E-4909-9CC8-3720A011650A}" dt="2022-02-21T20:34:37.364" v="1942" actId="1036"/>
          <ac:spMkLst>
            <pc:docMk/>
            <pc:sldMk cId="4129277709" sldId="2146846075"/>
            <ac:spMk id="33" creationId="{FE0DC58E-9260-4BDE-A300-EA656C4498D0}"/>
          </ac:spMkLst>
        </pc:spChg>
        <pc:grpChg chg="add mod">
          <ac:chgData name="Katerine Schifino" userId="37bb67de-9fcf-4611-888c-7e5b58184a2a" providerId="ADAL" clId="{58C35E70-9B3E-4909-9CC8-3720A011650A}" dt="2022-02-21T21:10:28.133" v="2543" actId="1076"/>
          <ac:grpSpMkLst>
            <pc:docMk/>
            <pc:sldMk cId="4129277709" sldId="2146846075"/>
            <ac:grpSpMk id="5" creationId="{761B5C9C-3740-460B-9E16-2A8727B432D7}"/>
          </ac:grpSpMkLst>
        </pc:grpChg>
        <pc:grpChg chg="add mod">
          <ac:chgData name="Katerine Schifino" userId="37bb67de-9fcf-4611-888c-7e5b58184a2a" providerId="ADAL" clId="{58C35E70-9B3E-4909-9CC8-3720A011650A}" dt="2022-02-21T21:10:43.932" v="2546" actId="1076"/>
          <ac:grpSpMkLst>
            <pc:docMk/>
            <pc:sldMk cId="4129277709" sldId="2146846075"/>
            <ac:grpSpMk id="6" creationId="{4C85D181-0DEC-4104-8BD4-B2647B2708CF}"/>
          </ac:grpSpMkLst>
        </pc:grpChg>
        <pc:grpChg chg="add mod">
          <ac:chgData name="Katerine Schifino" userId="37bb67de-9fcf-4611-888c-7e5b58184a2a" providerId="ADAL" clId="{58C35E70-9B3E-4909-9CC8-3720A011650A}" dt="2022-02-21T21:10:40.432" v="2545" actId="1076"/>
          <ac:grpSpMkLst>
            <pc:docMk/>
            <pc:sldMk cId="4129277709" sldId="2146846075"/>
            <ac:grpSpMk id="7" creationId="{0E3D677D-911B-4C2E-A70C-A2594CCCE989}"/>
          </ac:grpSpMkLst>
        </pc:grpChg>
        <pc:grpChg chg="add del mod">
          <ac:chgData name="Katerine Schifino" userId="37bb67de-9fcf-4611-888c-7e5b58184a2a" providerId="ADAL" clId="{58C35E70-9B3E-4909-9CC8-3720A011650A}" dt="2022-02-21T20:34:42.064" v="1943" actId="478"/>
          <ac:grpSpMkLst>
            <pc:docMk/>
            <pc:sldMk cId="4129277709" sldId="2146846075"/>
            <ac:grpSpMk id="19" creationId="{3D8EE3E3-9FCC-467D-99A7-6CEE9B79FF1F}"/>
          </ac:grpSpMkLst>
        </pc:grpChg>
        <pc:grpChg chg="mod">
          <ac:chgData name="Katerine Schifino" userId="37bb67de-9fcf-4611-888c-7e5b58184a2a" providerId="ADAL" clId="{58C35E70-9B3E-4909-9CC8-3720A011650A}" dt="2022-02-21T20:34:27.630" v="1922"/>
          <ac:grpSpMkLst>
            <pc:docMk/>
            <pc:sldMk cId="4129277709" sldId="2146846075"/>
            <ac:grpSpMk id="20" creationId="{5F0F5901-19FB-4A63-A7F5-596AC1E3BCAF}"/>
          </ac:grpSpMkLst>
        </pc:grpChg>
        <pc:grpChg chg="mod">
          <ac:chgData name="Katerine Schifino" userId="37bb67de-9fcf-4611-888c-7e5b58184a2a" providerId="ADAL" clId="{58C35E70-9B3E-4909-9CC8-3720A011650A}" dt="2022-02-21T20:34:37.364" v="1942" actId="1036"/>
          <ac:grpSpMkLst>
            <pc:docMk/>
            <pc:sldMk cId="4129277709" sldId="2146846075"/>
            <ac:grpSpMk id="29" creationId="{E52FC0A8-3EB5-4652-AD8B-1EE657854A4C}"/>
          </ac:grpSpMkLst>
        </pc:grpChg>
        <pc:picChg chg="add mod">
          <ac:chgData name="Katerine Schifino" userId="37bb67de-9fcf-4611-888c-7e5b58184a2a" providerId="ADAL" clId="{58C35E70-9B3E-4909-9CC8-3720A011650A}" dt="2022-02-21T20:40:14.519" v="2050" actId="164"/>
          <ac:picMkLst>
            <pc:docMk/>
            <pc:sldMk cId="4129277709" sldId="2146846075"/>
            <ac:picMk id="15" creationId="{0B562F0D-FA50-4B22-A13C-DE9C7BF0CD76}"/>
          </ac:picMkLst>
        </pc:picChg>
        <pc:picChg chg="add mod">
          <ac:chgData name="Katerine Schifino" userId="37bb67de-9fcf-4611-888c-7e5b58184a2a" providerId="ADAL" clId="{58C35E70-9B3E-4909-9CC8-3720A011650A}" dt="2022-02-21T20:40:18.234" v="2051" actId="164"/>
          <ac:picMkLst>
            <pc:docMk/>
            <pc:sldMk cId="4129277709" sldId="2146846075"/>
            <ac:picMk id="16" creationId="{BD69D520-BDA5-45A0-BE23-18C25CABBDA4}"/>
          </ac:picMkLst>
        </pc:picChg>
        <pc:picChg chg="add mod">
          <ac:chgData name="Katerine Schifino" userId="37bb67de-9fcf-4611-888c-7e5b58184a2a" providerId="ADAL" clId="{58C35E70-9B3E-4909-9CC8-3720A011650A}" dt="2022-02-21T20:40:07.731" v="2040" actId="164"/>
          <ac:picMkLst>
            <pc:docMk/>
            <pc:sldMk cId="4129277709" sldId="2146846075"/>
            <ac:picMk id="17" creationId="{83BEAB33-5B9D-4EEF-A1EF-387D8D3CA637}"/>
          </ac:picMkLst>
        </pc:picChg>
      </pc:sldChg>
      <pc:sldChg chg="addSp delSp modSp add mod">
        <pc:chgData name="Katerine Schifino" userId="37bb67de-9fcf-4611-888c-7e5b58184a2a" providerId="ADAL" clId="{58C35E70-9B3E-4909-9CC8-3720A011650A}" dt="2022-02-21T21:11:36.437" v="2553" actId="14100"/>
        <pc:sldMkLst>
          <pc:docMk/>
          <pc:sldMk cId="1399388959" sldId="2146846076"/>
        </pc:sldMkLst>
        <pc:spChg chg="mod">
          <ac:chgData name="Katerine Schifino" userId="37bb67de-9fcf-4611-888c-7e5b58184a2a" providerId="ADAL" clId="{58C35E70-9B3E-4909-9CC8-3720A011650A}" dt="2022-02-21T21:11:06.057" v="2549" actId="207"/>
          <ac:spMkLst>
            <pc:docMk/>
            <pc:sldMk cId="1399388959" sldId="2146846076"/>
            <ac:spMk id="2" creationId="{7D1E7581-7C4D-4F3D-B72D-B1CC3F8D661A}"/>
          </ac:spMkLst>
        </pc:spChg>
        <pc:spChg chg="mod">
          <ac:chgData name="Katerine Schifino" userId="37bb67de-9fcf-4611-888c-7e5b58184a2a" providerId="ADAL" clId="{58C35E70-9B3E-4909-9CC8-3720A011650A}" dt="2022-02-21T21:11:36.437" v="2553" actId="14100"/>
          <ac:spMkLst>
            <pc:docMk/>
            <pc:sldMk cId="1399388959" sldId="2146846076"/>
            <ac:spMk id="3" creationId="{ECC28DE0-D80C-4C93-BADC-8B952BE33F60}"/>
          </ac:spMkLst>
        </pc:spChg>
        <pc:spChg chg="mod">
          <ac:chgData name="Katerine Schifino" userId="37bb67de-9fcf-4611-888c-7e5b58184a2a" providerId="ADAL" clId="{58C35E70-9B3E-4909-9CC8-3720A011650A}" dt="2022-02-21T17:55:57.979" v="952" actId="207"/>
          <ac:spMkLst>
            <pc:docMk/>
            <pc:sldMk cId="1399388959" sldId="2146846076"/>
            <ac:spMk id="4" creationId="{3EAC8774-2EB2-4E56-A5AC-464AAA17B343}"/>
          </ac:spMkLst>
        </pc:spChg>
        <pc:spChg chg="mod">
          <ac:chgData name="Katerine Schifino" userId="37bb67de-9fcf-4611-888c-7e5b58184a2a" providerId="ADAL" clId="{58C35E70-9B3E-4909-9CC8-3720A011650A}" dt="2022-02-21T20:35:58.406" v="1960"/>
          <ac:spMkLst>
            <pc:docMk/>
            <pc:sldMk cId="1399388959" sldId="2146846076"/>
            <ac:spMk id="14" creationId="{9155200D-96BA-4255-9352-019B0FC4F2A3}"/>
          </ac:spMkLst>
        </pc:spChg>
        <pc:spChg chg="mod">
          <ac:chgData name="Katerine Schifino" userId="37bb67de-9fcf-4611-888c-7e5b58184a2a" providerId="ADAL" clId="{58C35E70-9B3E-4909-9CC8-3720A011650A}" dt="2022-02-21T20:35:58.406" v="1960"/>
          <ac:spMkLst>
            <pc:docMk/>
            <pc:sldMk cId="1399388959" sldId="2146846076"/>
            <ac:spMk id="15" creationId="{EB07D434-D4D7-4EC3-B209-F4A584D8B169}"/>
          </ac:spMkLst>
        </pc:spChg>
        <pc:spChg chg="mod">
          <ac:chgData name="Katerine Schifino" userId="37bb67de-9fcf-4611-888c-7e5b58184a2a" providerId="ADAL" clId="{58C35E70-9B3E-4909-9CC8-3720A011650A}" dt="2022-02-21T20:35:58.406" v="1960"/>
          <ac:spMkLst>
            <pc:docMk/>
            <pc:sldMk cId="1399388959" sldId="2146846076"/>
            <ac:spMk id="16" creationId="{8336F8E6-572A-41CE-A79A-1C76496F43B6}"/>
          </ac:spMkLst>
        </pc:spChg>
        <pc:spChg chg="add mod">
          <ac:chgData name="Katerine Schifino" userId="37bb67de-9fcf-4611-888c-7e5b58184a2a" providerId="ADAL" clId="{58C35E70-9B3E-4909-9CC8-3720A011650A}" dt="2022-02-21T20:49:33.592" v="2280" actId="164"/>
          <ac:spMkLst>
            <pc:docMk/>
            <pc:sldMk cId="1399388959" sldId="2146846076"/>
            <ac:spMk id="17" creationId="{74636A92-4ACD-4772-982A-0D9673D7860A}"/>
          </ac:spMkLst>
        </pc:spChg>
        <pc:spChg chg="add mod">
          <ac:chgData name="Katerine Schifino" userId="37bb67de-9fcf-4611-888c-7e5b58184a2a" providerId="ADAL" clId="{58C35E70-9B3E-4909-9CC8-3720A011650A}" dt="2022-02-21T20:49:36.988" v="2281" actId="164"/>
          <ac:spMkLst>
            <pc:docMk/>
            <pc:sldMk cId="1399388959" sldId="2146846076"/>
            <ac:spMk id="18" creationId="{DEB52DE1-770E-4D4E-9553-511EEEE45FB0}"/>
          </ac:spMkLst>
        </pc:spChg>
        <pc:spChg chg="add mod">
          <ac:chgData name="Katerine Schifino" userId="37bb67de-9fcf-4611-888c-7e5b58184a2a" providerId="ADAL" clId="{58C35E70-9B3E-4909-9CC8-3720A011650A}" dt="2022-02-21T20:50:38.649" v="2293" actId="14100"/>
          <ac:spMkLst>
            <pc:docMk/>
            <pc:sldMk cId="1399388959" sldId="2146846076"/>
            <ac:spMk id="19" creationId="{6AEB4195-2AF4-4737-A778-C4157400D8EC}"/>
          </ac:spMkLst>
        </pc:spChg>
        <pc:spChg chg="add mod">
          <ac:chgData name="Katerine Schifino" userId="37bb67de-9fcf-4611-888c-7e5b58184a2a" providerId="ADAL" clId="{58C35E70-9B3E-4909-9CC8-3720A011650A}" dt="2022-02-21T20:49:46.505" v="2284" actId="164"/>
          <ac:spMkLst>
            <pc:docMk/>
            <pc:sldMk cId="1399388959" sldId="2146846076"/>
            <ac:spMk id="20" creationId="{1646251B-71FD-4CE5-9BB8-C0D701F8816B}"/>
          </ac:spMkLst>
        </pc:spChg>
        <pc:spChg chg="add mod">
          <ac:chgData name="Katerine Schifino" userId="37bb67de-9fcf-4611-888c-7e5b58184a2a" providerId="ADAL" clId="{58C35E70-9B3E-4909-9CC8-3720A011650A}" dt="2022-02-21T20:49:43.710" v="2283" actId="164"/>
          <ac:spMkLst>
            <pc:docMk/>
            <pc:sldMk cId="1399388959" sldId="2146846076"/>
            <ac:spMk id="21" creationId="{C6A59099-D40F-48E3-B942-973612B51DC9}"/>
          </ac:spMkLst>
        </pc:spChg>
        <pc:spChg chg="add mod">
          <ac:chgData name="Katerine Schifino" userId="37bb67de-9fcf-4611-888c-7e5b58184a2a" providerId="ADAL" clId="{58C35E70-9B3E-4909-9CC8-3720A011650A}" dt="2022-02-21T20:49:33.592" v="2280" actId="164"/>
          <ac:spMkLst>
            <pc:docMk/>
            <pc:sldMk cId="1399388959" sldId="2146846076"/>
            <ac:spMk id="23" creationId="{6990B514-4A17-4E48-A4C9-08E34A22D42D}"/>
          </ac:spMkLst>
        </pc:spChg>
        <pc:spChg chg="add mod">
          <ac:chgData name="Katerine Schifino" userId="37bb67de-9fcf-4611-888c-7e5b58184a2a" providerId="ADAL" clId="{58C35E70-9B3E-4909-9CC8-3720A011650A}" dt="2022-02-21T20:49:36.988" v="2281" actId="164"/>
          <ac:spMkLst>
            <pc:docMk/>
            <pc:sldMk cId="1399388959" sldId="2146846076"/>
            <ac:spMk id="24" creationId="{DB40D7AF-F990-4536-8DE4-1187B69C7C8F}"/>
          </ac:spMkLst>
        </pc:spChg>
        <pc:spChg chg="add mod">
          <ac:chgData name="Katerine Schifino" userId="37bb67de-9fcf-4611-888c-7e5b58184a2a" providerId="ADAL" clId="{58C35E70-9B3E-4909-9CC8-3720A011650A}" dt="2022-02-21T21:02:49.505" v="2448" actId="1076"/>
          <ac:spMkLst>
            <pc:docMk/>
            <pc:sldMk cId="1399388959" sldId="2146846076"/>
            <ac:spMk id="25" creationId="{6886C4E0-352D-488A-971C-6C978EB58FCD}"/>
          </ac:spMkLst>
        </pc:spChg>
        <pc:spChg chg="add mod">
          <ac:chgData name="Katerine Schifino" userId="37bb67de-9fcf-4611-888c-7e5b58184a2a" providerId="ADAL" clId="{58C35E70-9B3E-4909-9CC8-3720A011650A}" dt="2022-02-21T20:49:43.710" v="2283" actId="164"/>
          <ac:spMkLst>
            <pc:docMk/>
            <pc:sldMk cId="1399388959" sldId="2146846076"/>
            <ac:spMk id="26" creationId="{9E9C79D1-18AF-48B1-9D1B-595DECF5B007}"/>
          </ac:spMkLst>
        </pc:spChg>
        <pc:spChg chg="add mod">
          <ac:chgData name="Katerine Schifino" userId="37bb67de-9fcf-4611-888c-7e5b58184a2a" providerId="ADAL" clId="{58C35E70-9B3E-4909-9CC8-3720A011650A}" dt="2022-02-21T20:49:46.505" v="2284" actId="164"/>
          <ac:spMkLst>
            <pc:docMk/>
            <pc:sldMk cId="1399388959" sldId="2146846076"/>
            <ac:spMk id="27" creationId="{62DBBA8D-7381-48D5-A1EF-20591AF34D7F}"/>
          </ac:spMkLst>
        </pc:spChg>
        <pc:spChg chg="mod">
          <ac:chgData name="Katerine Schifino" userId="37bb67de-9fcf-4611-888c-7e5b58184a2a" providerId="ADAL" clId="{58C35E70-9B3E-4909-9CC8-3720A011650A}" dt="2022-02-21T20:36:14.262" v="1979" actId="1036"/>
          <ac:spMkLst>
            <pc:docMk/>
            <pc:sldMk cId="1399388959" sldId="2146846076"/>
            <ac:spMk id="30" creationId="{96175DBC-EF98-4269-9912-6AFF58CC975F}"/>
          </ac:spMkLst>
        </pc:spChg>
        <pc:spChg chg="mod">
          <ac:chgData name="Katerine Schifino" userId="37bb67de-9fcf-4611-888c-7e5b58184a2a" providerId="ADAL" clId="{58C35E70-9B3E-4909-9CC8-3720A011650A}" dt="2022-02-21T20:36:14.262" v="1979" actId="1036"/>
          <ac:spMkLst>
            <pc:docMk/>
            <pc:sldMk cId="1399388959" sldId="2146846076"/>
            <ac:spMk id="31" creationId="{C023A83F-3A10-4785-9C83-3A0A245274F1}"/>
          </ac:spMkLst>
        </pc:spChg>
        <pc:spChg chg="mod">
          <ac:chgData name="Katerine Schifino" userId="37bb67de-9fcf-4611-888c-7e5b58184a2a" providerId="ADAL" clId="{58C35E70-9B3E-4909-9CC8-3720A011650A}" dt="2022-02-21T20:36:14.262" v="1979" actId="1036"/>
          <ac:spMkLst>
            <pc:docMk/>
            <pc:sldMk cId="1399388959" sldId="2146846076"/>
            <ac:spMk id="32" creationId="{1CB52CE4-5AA4-4F93-AE4F-7832F62BAB38}"/>
          </ac:spMkLst>
        </pc:spChg>
        <pc:spChg chg="mod">
          <ac:chgData name="Katerine Schifino" userId="37bb67de-9fcf-4611-888c-7e5b58184a2a" providerId="ADAL" clId="{58C35E70-9B3E-4909-9CC8-3720A011650A}" dt="2022-02-21T20:36:14.262" v="1979" actId="1036"/>
          <ac:spMkLst>
            <pc:docMk/>
            <pc:sldMk cId="1399388959" sldId="2146846076"/>
            <ac:spMk id="33" creationId="{FE0DC58E-9260-4BDE-A300-EA656C4498D0}"/>
          </ac:spMkLst>
        </pc:spChg>
        <pc:grpChg chg="add mod">
          <ac:chgData name="Katerine Schifino" userId="37bb67de-9fcf-4611-888c-7e5b58184a2a" providerId="ADAL" clId="{58C35E70-9B3E-4909-9CC8-3720A011650A}" dt="2022-02-21T20:54:01.975" v="2348" actId="164"/>
          <ac:grpSpMkLst>
            <pc:docMk/>
            <pc:sldMk cId="1399388959" sldId="2146846076"/>
            <ac:grpSpMk id="6" creationId="{21C384C3-E94A-461E-8E91-592D768F31A4}"/>
          </ac:grpSpMkLst>
        </pc:grpChg>
        <pc:grpChg chg="add mod">
          <ac:chgData name="Katerine Schifino" userId="37bb67de-9fcf-4611-888c-7e5b58184a2a" providerId="ADAL" clId="{58C35E70-9B3E-4909-9CC8-3720A011650A}" dt="2022-02-21T20:53:53.968" v="2346" actId="164"/>
          <ac:grpSpMkLst>
            <pc:docMk/>
            <pc:sldMk cId="1399388959" sldId="2146846076"/>
            <ac:grpSpMk id="7" creationId="{2BAC2D3A-D796-40AA-BE0A-7136D1292755}"/>
          </ac:grpSpMkLst>
        </pc:grpChg>
        <pc:grpChg chg="add mod">
          <ac:chgData name="Katerine Schifino" userId="37bb67de-9fcf-4611-888c-7e5b58184a2a" providerId="ADAL" clId="{58C35E70-9B3E-4909-9CC8-3720A011650A}" dt="2022-02-21T20:58:34.057" v="2377" actId="164"/>
          <ac:grpSpMkLst>
            <pc:docMk/>
            <pc:sldMk cId="1399388959" sldId="2146846076"/>
            <ac:grpSpMk id="8" creationId="{ABDAA429-44DA-44B2-BBB5-C9F35B8043A4}"/>
          </ac:grpSpMkLst>
        </pc:grpChg>
        <pc:grpChg chg="add mod">
          <ac:chgData name="Katerine Schifino" userId="37bb67de-9fcf-4611-888c-7e5b58184a2a" providerId="ADAL" clId="{58C35E70-9B3E-4909-9CC8-3720A011650A}" dt="2022-02-21T20:54:40.419" v="2361" actId="164"/>
          <ac:grpSpMkLst>
            <pc:docMk/>
            <pc:sldMk cId="1399388959" sldId="2146846076"/>
            <ac:grpSpMk id="9" creationId="{43197AE7-AD36-4E42-A13E-0F2990243D62}"/>
          </ac:grpSpMkLst>
        </pc:grpChg>
        <pc:grpChg chg="mod">
          <ac:chgData name="Katerine Schifino" userId="37bb67de-9fcf-4611-888c-7e5b58184a2a" providerId="ADAL" clId="{58C35E70-9B3E-4909-9CC8-3720A011650A}" dt="2022-02-21T17:39:49.909" v="817" actId="207"/>
          <ac:grpSpMkLst>
            <pc:docMk/>
            <pc:sldMk cId="1399388959" sldId="2146846076"/>
            <ac:grpSpMk id="11" creationId="{EB8D5658-1CF4-47FF-9ABD-765E3795EDA8}"/>
          </ac:grpSpMkLst>
        </pc:grpChg>
        <pc:grpChg chg="add del mod">
          <ac:chgData name="Katerine Schifino" userId="37bb67de-9fcf-4611-888c-7e5b58184a2a" providerId="ADAL" clId="{58C35E70-9B3E-4909-9CC8-3720A011650A}" dt="2022-02-21T20:36:10.709" v="1978" actId="478"/>
          <ac:grpSpMkLst>
            <pc:docMk/>
            <pc:sldMk cId="1399388959" sldId="2146846076"/>
            <ac:grpSpMk id="12" creationId="{9E896C02-6379-4275-A908-BE67660CF91F}"/>
          </ac:grpSpMkLst>
        </pc:grpChg>
        <pc:grpChg chg="mod">
          <ac:chgData name="Katerine Schifino" userId="37bb67de-9fcf-4611-888c-7e5b58184a2a" providerId="ADAL" clId="{58C35E70-9B3E-4909-9CC8-3720A011650A}" dt="2022-02-21T20:35:58.406" v="1960"/>
          <ac:grpSpMkLst>
            <pc:docMk/>
            <pc:sldMk cId="1399388959" sldId="2146846076"/>
            <ac:grpSpMk id="13" creationId="{246D4ABF-15BF-464A-8A10-70ECC7419E15}"/>
          </ac:grpSpMkLst>
        </pc:grpChg>
        <pc:grpChg chg="add mod">
          <ac:chgData name="Katerine Schifino" userId="37bb67de-9fcf-4611-888c-7e5b58184a2a" providerId="ADAL" clId="{58C35E70-9B3E-4909-9CC8-3720A011650A}" dt="2022-02-21T20:54:31.974" v="2358" actId="164"/>
          <ac:grpSpMkLst>
            <pc:docMk/>
            <pc:sldMk cId="1399388959" sldId="2146846076"/>
            <ac:grpSpMk id="22" creationId="{DBB611F0-B286-4667-A8F4-1FBEE88F24CC}"/>
          </ac:grpSpMkLst>
        </pc:grpChg>
        <pc:grpChg chg="mod">
          <ac:chgData name="Katerine Schifino" userId="37bb67de-9fcf-4611-888c-7e5b58184a2a" providerId="ADAL" clId="{58C35E70-9B3E-4909-9CC8-3720A011650A}" dt="2022-02-21T20:36:14.262" v="1979" actId="1036"/>
          <ac:grpSpMkLst>
            <pc:docMk/>
            <pc:sldMk cId="1399388959" sldId="2146846076"/>
            <ac:grpSpMk id="29" creationId="{E52FC0A8-3EB5-4652-AD8B-1EE657854A4C}"/>
          </ac:grpSpMkLst>
        </pc:grpChg>
        <pc:grpChg chg="add mod">
          <ac:chgData name="Katerine Schifino" userId="37bb67de-9fcf-4611-888c-7e5b58184a2a" providerId="ADAL" clId="{58C35E70-9B3E-4909-9CC8-3720A011650A}" dt="2022-02-21T21:02:32.450" v="2444" actId="1036"/>
          <ac:grpSpMkLst>
            <pc:docMk/>
            <pc:sldMk cId="1399388959" sldId="2146846076"/>
            <ac:grpSpMk id="41" creationId="{EDFECC8F-70A2-4607-9F4A-8CCF83DB4364}"/>
          </ac:grpSpMkLst>
        </pc:grpChg>
        <pc:grpChg chg="add mod">
          <ac:chgData name="Katerine Schifino" userId="37bb67de-9fcf-4611-888c-7e5b58184a2a" providerId="ADAL" clId="{58C35E70-9B3E-4909-9CC8-3720A011650A}" dt="2022-02-21T21:02:32.450" v="2444" actId="1036"/>
          <ac:grpSpMkLst>
            <pc:docMk/>
            <pc:sldMk cId="1399388959" sldId="2146846076"/>
            <ac:grpSpMk id="42" creationId="{6FBDE518-9311-410B-947D-D1FAE1FA3032}"/>
          </ac:grpSpMkLst>
        </pc:grpChg>
        <pc:grpChg chg="add mod">
          <ac:chgData name="Katerine Schifino" userId="37bb67de-9fcf-4611-888c-7e5b58184a2a" providerId="ADAL" clId="{58C35E70-9B3E-4909-9CC8-3720A011650A}" dt="2022-02-21T21:02:32.450" v="2444" actId="1036"/>
          <ac:grpSpMkLst>
            <pc:docMk/>
            <pc:sldMk cId="1399388959" sldId="2146846076"/>
            <ac:grpSpMk id="43" creationId="{971C2EF3-D3C0-46CF-A4CA-1AC124EAD6C9}"/>
          </ac:grpSpMkLst>
        </pc:grpChg>
        <pc:grpChg chg="add mod">
          <ac:chgData name="Katerine Schifino" userId="37bb67de-9fcf-4611-888c-7e5b58184a2a" providerId="ADAL" clId="{58C35E70-9B3E-4909-9CC8-3720A011650A}" dt="2022-02-21T21:02:32.450" v="2444" actId="1036"/>
          <ac:grpSpMkLst>
            <pc:docMk/>
            <pc:sldMk cId="1399388959" sldId="2146846076"/>
            <ac:grpSpMk id="44" creationId="{D8D8FA89-C656-40F3-92D7-ECD79575144F}"/>
          </ac:grpSpMkLst>
        </pc:grpChg>
        <pc:grpChg chg="add mod">
          <ac:chgData name="Katerine Schifino" userId="37bb67de-9fcf-4611-888c-7e5b58184a2a" providerId="ADAL" clId="{58C35E70-9B3E-4909-9CC8-3720A011650A}" dt="2022-02-21T21:02:32.450" v="2444" actId="1036"/>
          <ac:grpSpMkLst>
            <pc:docMk/>
            <pc:sldMk cId="1399388959" sldId="2146846076"/>
            <ac:grpSpMk id="51" creationId="{F61CB7BC-5345-4925-8B10-891F7E272566}"/>
          </ac:grpSpMkLst>
        </pc:grpChg>
        <pc:picChg chg="add mod">
          <ac:chgData name="Katerine Schifino" userId="37bb67de-9fcf-4611-888c-7e5b58184a2a" providerId="ADAL" clId="{58C35E70-9B3E-4909-9CC8-3720A011650A}" dt="2022-02-21T21:02:38.515" v="2446" actId="1076"/>
          <ac:picMkLst>
            <pc:docMk/>
            <pc:sldMk cId="1399388959" sldId="2146846076"/>
            <ac:picMk id="34" creationId="{F11F1CDC-E716-45CF-881C-F2288E2FC26E}"/>
          </ac:picMkLst>
        </pc:picChg>
        <pc:picChg chg="add mod">
          <ac:chgData name="Katerine Schifino" userId="37bb67de-9fcf-4611-888c-7e5b58184a2a" providerId="ADAL" clId="{58C35E70-9B3E-4909-9CC8-3720A011650A}" dt="2022-02-21T20:54:31.974" v="2358" actId="164"/>
          <ac:picMkLst>
            <pc:docMk/>
            <pc:sldMk cId="1399388959" sldId="2146846076"/>
            <ac:picMk id="36" creationId="{ACA2174B-7EF5-4DD5-834B-76ED7B61B434}"/>
          </ac:picMkLst>
        </pc:picChg>
        <pc:picChg chg="add mod">
          <ac:chgData name="Katerine Schifino" userId="37bb67de-9fcf-4611-888c-7e5b58184a2a" providerId="ADAL" clId="{58C35E70-9B3E-4909-9CC8-3720A011650A}" dt="2022-02-21T20:54:40.419" v="2361" actId="164"/>
          <ac:picMkLst>
            <pc:docMk/>
            <pc:sldMk cId="1399388959" sldId="2146846076"/>
            <ac:picMk id="38" creationId="{68A65A40-B8A1-4F03-BF0E-3D7269E3217F}"/>
          </ac:picMkLst>
        </pc:picChg>
        <pc:picChg chg="add mod">
          <ac:chgData name="Katerine Schifino" userId="37bb67de-9fcf-4611-888c-7e5b58184a2a" providerId="ADAL" clId="{58C35E70-9B3E-4909-9CC8-3720A011650A}" dt="2022-02-21T20:54:01.975" v="2348" actId="164"/>
          <ac:picMkLst>
            <pc:docMk/>
            <pc:sldMk cId="1399388959" sldId="2146846076"/>
            <ac:picMk id="40" creationId="{AC87E401-2A5D-4A66-8247-C00204FEC14F}"/>
          </ac:picMkLst>
        </pc:picChg>
        <pc:picChg chg="add del mod">
          <ac:chgData name="Katerine Schifino" userId="37bb67de-9fcf-4611-888c-7e5b58184a2a" providerId="ADAL" clId="{58C35E70-9B3E-4909-9CC8-3720A011650A}" dt="2022-02-21T20:58:15.053" v="2368" actId="478"/>
          <ac:picMkLst>
            <pc:docMk/>
            <pc:sldMk cId="1399388959" sldId="2146846076"/>
            <ac:picMk id="46" creationId="{80334A0A-C9FF-47DC-B7F2-A72A2F059560}"/>
          </ac:picMkLst>
        </pc:picChg>
        <pc:picChg chg="add mod">
          <ac:chgData name="Katerine Schifino" userId="37bb67de-9fcf-4611-888c-7e5b58184a2a" providerId="ADAL" clId="{58C35E70-9B3E-4909-9CC8-3720A011650A}" dt="2022-02-21T21:02:52.364" v="2449" actId="1076"/>
          <ac:picMkLst>
            <pc:docMk/>
            <pc:sldMk cId="1399388959" sldId="2146846076"/>
            <ac:picMk id="48" creationId="{4DDB190C-9B41-47DD-AE2E-A287A559CCA0}"/>
          </ac:picMkLst>
        </pc:picChg>
        <pc:picChg chg="add del mod">
          <ac:chgData name="Katerine Schifino" userId="37bb67de-9fcf-4611-888c-7e5b58184a2a" providerId="ADAL" clId="{58C35E70-9B3E-4909-9CC8-3720A011650A}" dt="2022-02-21T20:58:16.507" v="2369" actId="478"/>
          <ac:picMkLst>
            <pc:docMk/>
            <pc:sldMk cId="1399388959" sldId="2146846076"/>
            <ac:picMk id="50" creationId="{694AEF22-E9B0-4654-9AF6-82E71CB8A3A1}"/>
          </ac:picMkLst>
        </pc:picChg>
      </pc:sldChg>
      <pc:sldChg chg="addSp delSp modSp add mod">
        <pc:chgData name="Katerine Schifino" userId="37bb67de-9fcf-4611-888c-7e5b58184a2a" providerId="ADAL" clId="{58C35E70-9B3E-4909-9CC8-3720A011650A}" dt="2022-02-21T21:16:13.039" v="2594" actId="21"/>
        <pc:sldMkLst>
          <pc:docMk/>
          <pc:sldMk cId="360272954" sldId="2146846077"/>
        </pc:sldMkLst>
        <pc:spChg chg="mod">
          <ac:chgData name="Katerine Schifino" userId="37bb67de-9fcf-4611-888c-7e5b58184a2a" providerId="ADAL" clId="{58C35E70-9B3E-4909-9CC8-3720A011650A}" dt="2022-02-21T21:11:24.141" v="2551" actId="207"/>
          <ac:spMkLst>
            <pc:docMk/>
            <pc:sldMk cId="360272954" sldId="2146846077"/>
            <ac:spMk id="2" creationId="{7D1E7581-7C4D-4F3D-B72D-B1CC3F8D661A}"/>
          </ac:spMkLst>
        </pc:spChg>
        <pc:spChg chg="mod">
          <ac:chgData name="Katerine Schifino" userId="37bb67de-9fcf-4611-888c-7e5b58184a2a" providerId="ADAL" clId="{58C35E70-9B3E-4909-9CC8-3720A011650A}" dt="2022-02-21T21:11:29.238" v="2552" actId="14100"/>
          <ac:spMkLst>
            <pc:docMk/>
            <pc:sldMk cId="360272954" sldId="2146846077"/>
            <ac:spMk id="3" creationId="{ECC28DE0-D80C-4C93-BADC-8B952BE33F60}"/>
          </ac:spMkLst>
        </pc:spChg>
        <pc:spChg chg="mod">
          <ac:chgData name="Katerine Schifino" userId="37bb67de-9fcf-4611-888c-7e5b58184a2a" providerId="ADAL" clId="{58C35E70-9B3E-4909-9CC8-3720A011650A}" dt="2022-02-21T17:40:54.907" v="831" actId="207"/>
          <ac:spMkLst>
            <pc:docMk/>
            <pc:sldMk cId="360272954" sldId="2146846077"/>
            <ac:spMk id="4" creationId="{3EAC8774-2EB2-4E56-A5AC-464AAA17B343}"/>
          </ac:spMkLst>
        </pc:spChg>
        <pc:spChg chg="add mod">
          <ac:chgData name="Katerine Schifino" userId="37bb67de-9fcf-4611-888c-7e5b58184a2a" providerId="ADAL" clId="{58C35E70-9B3E-4909-9CC8-3720A011650A}" dt="2022-02-21T20:36:29.627" v="2000" actId="1035"/>
          <ac:spMkLst>
            <pc:docMk/>
            <pc:sldMk cId="360272954" sldId="2146846077"/>
            <ac:spMk id="12" creationId="{5DB426AC-A779-4CE8-BC52-DA5DFBF5D44B}"/>
          </ac:spMkLst>
        </pc:spChg>
        <pc:spChg chg="mod">
          <ac:chgData name="Katerine Schifino" userId="37bb67de-9fcf-4611-888c-7e5b58184a2a" providerId="ADAL" clId="{58C35E70-9B3E-4909-9CC8-3720A011650A}" dt="2022-02-21T20:36:22.658" v="1980"/>
          <ac:spMkLst>
            <pc:docMk/>
            <pc:sldMk cId="360272954" sldId="2146846077"/>
            <ac:spMk id="15" creationId="{CFAD3D74-839A-4989-8BE2-4C309F701359}"/>
          </ac:spMkLst>
        </pc:spChg>
        <pc:spChg chg="mod">
          <ac:chgData name="Katerine Schifino" userId="37bb67de-9fcf-4611-888c-7e5b58184a2a" providerId="ADAL" clId="{58C35E70-9B3E-4909-9CC8-3720A011650A}" dt="2022-02-21T20:36:22.658" v="1980"/>
          <ac:spMkLst>
            <pc:docMk/>
            <pc:sldMk cId="360272954" sldId="2146846077"/>
            <ac:spMk id="16" creationId="{5E327CEE-620E-47F8-806F-E93A7EE4F3E4}"/>
          </ac:spMkLst>
        </pc:spChg>
        <pc:spChg chg="mod">
          <ac:chgData name="Katerine Schifino" userId="37bb67de-9fcf-4611-888c-7e5b58184a2a" providerId="ADAL" clId="{58C35E70-9B3E-4909-9CC8-3720A011650A}" dt="2022-02-21T20:36:22.658" v="1980"/>
          <ac:spMkLst>
            <pc:docMk/>
            <pc:sldMk cId="360272954" sldId="2146846077"/>
            <ac:spMk id="17" creationId="{294E1165-5E7D-4F35-A021-2F4AA98563B0}"/>
          </ac:spMkLst>
        </pc:spChg>
        <pc:spChg chg="add mod">
          <ac:chgData name="Katerine Schifino" userId="37bb67de-9fcf-4611-888c-7e5b58184a2a" providerId="ADAL" clId="{58C35E70-9B3E-4909-9CC8-3720A011650A}" dt="2022-02-21T21:15:36.129" v="2579" actId="20577"/>
          <ac:spMkLst>
            <pc:docMk/>
            <pc:sldMk cId="360272954" sldId="2146846077"/>
            <ac:spMk id="19" creationId="{236F10AB-F94A-4E90-85EA-B39191B07934}"/>
          </ac:spMkLst>
        </pc:spChg>
        <pc:spChg chg="add mod">
          <ac:chgData name="Katerine Schifino" userId="37bb67de-9fcf-4611-888c-7e5b58184a2a" providerId="ADAL" clId="{58C35E70-9B3E-4909-9CC8-3720A011650A}" dt="2022-02-21T21:16:12.649" v="2593" actId="20577"/>
          <ac:spMkLst>
            <pc:docMk/>
            <pc:sldMk cId="360272954" sldId="2146846077"/>
            <ac:spMk id="21" creationId="{88ABBBA2-0A20-4DA1-81F3-55651AF7A6AE}"/>
          </ac:spMkLst>
        </pc:spChg>
        <pc:spChg chg="add del mod">
          <ac:chgData name="Katerine Schifino" userId="37bb67de-9fcf-4611-888c-7e5b58184a2a" providerId="ADAL" clId="{58C35E70-9B3E-4909-9CC8-3720A011650A}" dt="2022-02-21T21:16:13.039" v="2594" actId="21"/>
          <ac:spMkLst>
            <pc:docMk/>
            <pc:sldMk cId="360272954" sldId="2146846077"/>
            <ac:spMk id="22" creationId="{38EEE4E9-8CB8-4E4A-8A99-69912069FEC3}"/>
          </ac:spMkLst>
        </pc:spChg>
        <pc:spChg chg="del mod">
          <ac:chgData name="Katerine Schifino" userId="37bb67de-9fcf-4611-888c-7e5b58184a2a" providerId="ADAL" clId="{58C35E70-9B3E-4909-9CC8-3720A011650A}" dt="2022-02-21T17:47:13.583" v="883" actId="478"/>
          <ac:spMkLst>
            <pc:docMk/>
            <pc:sldMk cId="360272954" sldId="2146846077"/>
            <ac:spMk id="30" creationId="{96175DBC-EF98-4269-9912-6AFF58CC975F}"/>
          </ac:spMkLst>
        </pc:spChg>
        <pc:spChg chg="mod">
          <ac:chgData name="Katerine Schifino" userId="37bb67de-9fcf-4611-888c-7e5b58184a2a" providerId="ADAL" clId="{58C35E70-9B3E-4909-9CC8-3720A011650A}" dt="2022-02-21T20:36:29.627" v="2000" actId="1035"/>
          <ac:spMkLst>
            <pc:docMk/>
            <pc:sldMk cId="360272954" sldId="2146846077"/>
            <ac:spMk id="31" creationId="{C023A83F-3A10-4785-9C83-3A0A245274F1}"/>
          </ac:spMkLst>
        </pc:spChg>
        <pc:spChg chg="mod">
          <ac:chgData name="Katerine Schifino" userId="37bb67de-9fcf-4611-888c-7e5b58184a2a" providerId="ADAL" clId="{58C35E70-9B3E-4909-9CC8-3720A011650A}" dt="2022-02-21T20:36:29.627" v="2000" actId="1035"/>
          <ac:spMkLst>
            <pc:docMk/>
            <pc:sldMk cId="360272954" sldId="2146846077"/>
            <ac:spMk id="32" creationId="{1CB52CE4-5AA4-4F93-AE4F-7832F62BAB38}"/>
          </ac:spMkLst>
        </pc:spChg>
        <pc:spChg chg="mod">
          <ac:chgData name="Katerine Schifino" userId="37bb67de-9fcf-4611-888c-7e5b58184a2a" providerId="ADAL" clId="{58C35E70-9B3E-4909-9CC8-3720A011650A}" dt="2022-02-21T20:36:29.627" v="2000" actId="1035"/>
          <ac:spMkLst>
            <pc:docMk/>
            <pc:sldMk cId="360272954" sldId="2146846077"/>
            <ac:spMk id="33" creationId="{FE0DC58E-9260-4BDE-A300-EA656C4498D0}"/>
          </ac:spMkLst>
        </pc:spChg>
        <pc:grpChg chg="mod">
          <ac:chgData name="Katerine Schifino" userId="37bb67de-9fcf-4611-888c-7e5b58184a2a" providerId="ADAL" clId="{58C35E70-9B3E-4909-9CC8-3720A011650A}" dt="2022-02-21T17:40:54.907" v="831" actId="207"/>
          <ac:grpSpMkLst>
            <pc:docMk/>
            <pc:sldMk cId="360272954" sldId="2146846077"/>
            <ac:grpSpMk id="11" creationId="{EB8D5658-1CF4-47FF-9ABD-765E3795EDA8}"/>
          </ac:grpSpMkLst>
        </pc:grpChg>
        <pc:grpChg chg="add del mod">
          <ac:chgData name="Katerine Schifino" userId="37bb67de-9fcf-4611-888c-7e5b58184a2a" providerId="ADAL" clId="{58C35E70-9B3E-4909-9CC8-3720A011650A}" dt="2022-02-21T20:36:31.722" v="2001" actId="478"/>
          <ac:grpSpMkLst>
            <pc:docMk/>
            <pc:sldMk cId="360272954" sldId="2146846077"/>
            <ac:grpSpMk id="13" creationId="{0A805B47-E6EF-4AC9-8883-0D13A293F9F1}"/>
          </ac:grpSpMkLst>
        </pc:grpChg>
        <pc:grpChg chg="mod">
          <ac:chgData name="Katerine Schifino" userId="37bb67de-9fcf-4611-888c-7e5b58184a2a" providerId="ADAL" clId="{58C35E70-9B3E-4909-9CC8-3720A011650A}" dt="2022-02-21T20:36:22.658" v="1980"/>
          <ac:grpSpMkLst>
            <pc:docMk/>
            <pc:sldMk cId="360272954" sldId="2146846077"/>
            <ac:grpSpMk id="14" creationId="{340834D7-1CC2-4F2A-A85D-71914C9344F5}"/>
          </ac:grpSpMkLst>
        </pc:grpChg>
        <pc:grpChg chg="mod">
          <ac:chgData name="Katerine Schifino" userId="37bb67de-9fcf-4611-888c-7e5b58184a2a" providerId="ADAL" clId="{58C35E70-9B3E-4909-9CC8-3720A011650A}" dt="2022-02-21T20:36:29.627" v="2000" actId="1035"/>
          <ac:grpSpMkLst>
            <pc:docMk/>
            <pc:sldMk cId="360272954" sldId="2146846077"/>
            <ac:grpSpMk id="29" creationId="{E52FC0A8-3EB5-4652-AD8B-1EE657854A4C}"/>
          </ac:grpSpMkLst>
        </pc:grpChg>
      </pc:sldChg>
      <pc:sldChg chg="addSp delSp modSp add mod">
        <pc:chgData name="Katerine Schifino" userId="37bb67de-9fcf-4611-888c-7e5b58184a2a" providerId="ADAL" clId="{58C35E70-9B3E-4909-9CC8-3720A011650A}" dt="2022-02-21T21:16:52.787" v="2602" actId="20577"/>
        <pc:sldMkLst>
          <pc:docMk/>
          <pc:sldMk cId="4043600639" sldId="2146846078"/>
        </pc:sldMkLst>
        <pc:spChg chg="mod">
          <ac:chgData name="Katerine Schifino" userId="37bb67de-9fcf-4611-888c-7e5b58184a2a" providerId="ADAL" clId="{58C35E70-9B3E-4909-9CC8-3720A011650A}" dt="2022-02-21T17:41:46.766" v="842" actId="207"/>
          <ac:spMkLst>
            <pc:docMk/>
            <pc:sldMk cId="4043600639" sldId="2146846078"/>
            <ac:spMk id="2" creationId="{7D1E7581-7C4D-4F3D-B72D-B1CC3F8D661A}"/>
          </ac:spMkLst>
        </pc:spChg>
        <pc:spChg chg="mod">
          <ac:chgData name="Katerine Schifino" userId="37bb67de-9fcf-4611-888c-7e5b58184a2a" providerId="ADAL" clId="{58C35E70-9B3E-4909-9CC8-3720A011650A}" dt="2022-02-21T21:09:40.906" v="2535" actId="14100"/>
          <ac:spMkLst>
            <pc:docMk/>
            <pc:sldMk cId="4043600639" sldId="2146846078"/>
            <ac:spMk id="3" creationId="{ECC28DE0-D80C-4C93-BADC-8B952BE33F60}"/>
          </ac:spMkLst>
        </pc:spChg>
        <pc:spChg chg="mod">
          <ac:chgData name="Katerine Schifino" userId="37bb67de-9fcf-4611-888c-7e5b58184a2a" providerId="ADAL" clId="{58C35E70-9B3E-4909-9CC8-3720A011650A}" dt="2022-02-21T17:41:46.766" v="842" actId="207"/>
          <ac:spMkLst>
            <pc:docMk/>
            <pc:sldMk cId="4043600639" sldId="2146846078"/>
            <ac:spMk id="4" creationId="{3EAC8774-2EB2-4E56-A5AC-464AAA17B343}"/>
          </ac:spMkLst>
        </pc:spChg>
        <pc:spChg chg="add mod ord">
          <ac:chgData name="Katerine Schifino" userId="37bb67de-9fcf-4611-888c-7e5b58184a2a" providerId="ADAL" clId="{58C35E70-9B3E-4909-9CC8-3720A011650A}" dt="2022-02-21T21:02:02.011" v="2428" actId="207"/>
          <ac:spMkLst>
            <pc:docMk/>
            <pc:sldMk cId="4043600639" sldId="2146846078"/>
            <ac:spMk id="7" creationId="{1C2ECF8A-1BE7-4824-966B-2831F372B2A5}"/>
          </ac:spMkLst>
        </pc:spChg>
        <pc:spChg chg="mod">
          <ac:chgData name="Katerine Schifino" userId="37bb67de-9fcf-4611-888c-7e5b58184a2a" providerId="ADAL" clId="{58C35E70-9B3E-4909-9CC8-3720A011650A}" dt="2022-02-21T20:36:37.409" v="2002"/>
          <ac:spMkLst>
            <pc:docMk/>
            <pc:sldMk cId="4043600639" sldId="2146846078"/>
            <ac:spMk id="14" creationId="{6CAFD2CC-1B76-40AC-B44A-B5FC326F74F6}"/>
          </ac:spMkLst>
        </pc:spChg>
        <pc:spChg chg="mod">
          <ac:chgData name="Katerine Schifino" userId="37bb67de-9fcf-4611-888c-7e5b58184a2a" providerId="ADAL" clId="{58C35E70-9B3E-4909-9CC8-3720A011650A}" dt="2022-02-21T20:36:37.409" v="2002"/>
          <ac:spMkLst>
            <pc:docMk/>
            <pc:sldMk cId="4043600639" sldId="2146846078"/>
            <ac:spMk id="15" creationId="{04193214-81C2-4218-B818-B7BCAAE984B4}"/>
          </ac:spMkLst>
        </pc:spChg>
        <pc:spChg chg="mod">
          <ac:chgData name="Katerine Schifino" userId="37bb67de-9fcf-4611-888c-7e5b58184a2a" providerId="ADAL" clId="{58C35E70-9B3E-4909-9CC8-3720A011650A}" dt="2022-02-21T20:36:37.409" v="2002"/>
          <ac:spMkLst>
            <pc:docMk/>
            <pc:sldMk cId="4043600639" sldId="2146846078"/>
            <ac:spMk id="16" creationId="{D8BAC32B-E592-4F06-B734-E41BAA838011}"/>
          </ac:spMkLst>
        </pc:spChg>
        <pc:spChg chg="add mod ord">
          <ac:chgData name="Katerine Schifino" userId="37bb67de-9fcf-4611-888c-7e5b58184a2a" providerId="ADAL" clId="{58C35E70-9B3E-4909-9CC8-3720A011650A}" dt="2022-02-21T21:16:52.787" v="2602" actId="20577"/>
          <ac:spMkLst>
            <pc:docMk/>
            <pc:sldMk cId="4043600639" sldId="2146846078"/>
            <ac:spMk id="18" creationId="{6BA07D6C-4C18-43D0-880A-5AE8A4592E94}"/>
          </ac:spMkLst>
        </pc:spChg>
        <pc:spChg chg="add del mod">
          <ac:chgData name="Katerine Schifino" userId="37bb67de-9fcf-4611-888c-7e5b58184a2a" providerId="ADAL" clId="{58C35E70-9B3E-4909-9CC8-3720A011650A}" dt="2022-02-21T21:01:01.596" v="2426" actId="478"/>
          <ac:spMkLst>
            <pc:docMk/>
            <pc:sldMk cId="4043600639" sldId="2146846078"/>
            <ac:spMk id="20" creationId="{6DAC3725-1D1C-471B-85B4-97C4C8B990E6}"/>
          </ac:spMkLst>
        </pc:spChg>
        <pc:spChg chg="add mod">
          <ac:chgData name="Katerine Schifino" userId="37bb67de-9fcf-4611-888c-7e5b58184a2a" providerId="ADAL" clId="{58C35E70-9B3E-4909-9CC8-3720A011650A}" dt="2022-02-21T21:02:06.296" v="2429" actId="207"/>
          <ac:spMkLst>
            <pc:docMk/>
            <pc:sldMk cId="4043600639" sldId="2146846078"/>
            <ac:spMk id="22" creationId="{27CCAEFE-36D0-4B80-969A-F060F8192A2C}"/>
          </ac:spMkLst>
        </pc:spChg>
        <pc:spChg chg="add mod">
          <ac:chgData name="Katerine Schifino" userId="37bb67de-9fcf-4611-888c-7e5b58184a2a" providerId="ADAL" clId="{58C35E70-9B3E-4909-9CC8-3720A011650A}" dt="2022-02-21T21:02:10.612" v="2430" actId="207"/>
          <ac:spMkLst>
            <pc:docMk/>
            <pc:sldMk cId="4043600639" sldId="2146846078"/>
            <ac:spMk id="23" creationId="{F740B5BF-710E-4635-9968-520129B082ED}"/>
          </ac:spMkLst>
        </pc:spChg>
        <pc:spChg chg="mod">
          <ac:chgData name="Katerine Schifino" userId="37bb67de-9fcf-4611-888c-7e5b58184a2a" providerId="ADAL" clId="{58C35E70-9B3E-4909-9CC8-3720A011650A}" dt="2022-02-21T20:36:44.838" v="2024" actId="1035"/>
          <ac:spMkLst>
            <pc:docMk/>
            <pc:sldMk cId="4043600639" sldId="2146846078"/>
            <ac:spMk id="30" creationId="{96175DBC-EF98-4269-9912-6AFF58CC975F}"/>
          </ac:spMkLst>
        </pc:spChg>
        <pc:spChg chg="mod">
          <ac:chgData name="Katerine Schifino" userId="37bb67de-9fcf-4611-888c-7e5b58184a2a" providerId="ADAL" clId="{58C35E70-9B3E-4909-9CC8-3720A011650A}" dt="2022-02-21T20:36:44.838" v="2024" actId="1035"/>
          <ac:spMkLst>
            <pc:docMk/>
            <pc:sldMk cId="4043600639" sldId="2146846078"/>
            <ac:spMk id="31" creationId="{C023A83F-3A10-4785-9C83-3A0A245274F1}"/>
          </ac:spMkLst>
        </pc:spChg>
        <pc:spChg chg="mod">
          <ac:chgData name="Katerine Schifino" userId="37bb67de-9fcf-4611-888c-7e5b58184a2a" providerId="ADAL" clId="{58C35E70-9B3E-4909-9CC8-3720A011650A}" dt="2022-02-21T20:36:44.838" v="2024" actId="1035"/>
          <ac:spMkLst>
            <pc:docMk/>
            <pc:sldMk cId="4043600639" sldId="2146846078"/>
            <ac:spMk id="32" creationId="{1CB52CE4-5AA4-4F93-AE4F-7832F62BAB38}"/>
          </ac:spMkLst>
        </pc:spChg>
        <pc:spChg chg="mod">
          <ac:chgData name="Katerine Schifino" userId="37bb67de-9fcf-4611-888c-7e5b58184a2a" providerId="ADAL" clId="{58C35E70-9B3E-4909-9CC8-3720A011650A}" dt="2022-02-21T20:36:44.838" v="2024" actId="1035"/>
          <ac:spMkLst>
            <pc:docMk/>
            <pc:sldMk cId="4043600639" sldId="2146846078"/>
            <ac:spMk id="33" creationId="{FE0DC58E-9260-4BDE-A300-EA656C4498D0}"/>
          </ac:spMkLst>
        </pc:spChg>
        <pc:grpChg chg="mod">
          <ac:chgData name="Katerine Schifino" userId="37bb67de-9fcf-4611-888c-7e5b58184a2a" providerId="ADAL" clId="{58C35E70-9B3E-4909-9CC8-3720A011650A}" dt="2022-02-21T17:41:46.766" v="842" actId="207"/>
          <ac:grpSpMkLst>
            <pc:docMk/>
            <pc:sldMk cId="4043600639" sldId="2146846078"/>
            <ac:grpSpMk id="11" creationId="{EB8D5658-1CF4-47FF-9ABD-765E3795EDA8}"/>
          </ac:grpSpMkLst>
        </pc:grpChg>
        <pc:grpChg chg="add del mod">
          <ac:chgData name="Katerine Schifino" userId="37bb67de-9fcf-4611-888c-7e5b58184a2a" providerId="ADAL" clId="{58C35E70-9B3E-4909-9CC8-3720A011650A}" dt="2022-02-21T20:36:46.827" v="2025" actId="478"/>
          <ac:grpSpMkLst>
            <pc:docMk/>
            <pc:sldMk cId="4043600639" sldId="2146846078"/>
            <ac:grpSpMk id="12" creationId="{DE088598-D70B-4FE7-AB7A-4F222C45DF33}"/>
          </ac:grpSpMkLst>
        </pc:grpChg>
        <pc:grpChg chg="mod">
          <ac:chgData name="Katerine Schifino" userId="37bb67de-9fcf-4611-888c-7e5b58184a2a" providerId="ADAL" clId="{58C35E70-9B3E-4909-9CC8-3720A011650A}" dt="2022-02-21T20:36:37.409" v="2002"/>
          <ac:grpSpMkLst>
            <pc:docMk/>
            <pc:sldMk cId="4043600639" sldId="2146846078"/>
            <ac:grpSpMk id="13" creationId="{42B1B739-5253-4D63-AFBB-73B51DEC6673}"/>
          </ac:grpSpMkLst>
        </pc:grpChg>
        <pc:grpChg chg="mod">
          <ac:chgData name="Katerine Schifino" userId="37bb67de-9fcf-4611-888c-7e5b58184a2a" providerId="ADAL" clId="{58C35E70-9B3E-4909-9CC8-3720A011650A}" dt="2022-02-21T21:09:37.223" v="2534" actId="14100"/>
          <ac:grpSpMkLst>
            <pc:docMk/>
            <pc:sldMk cId="4043600639" sldId="2146846078"/>
            <ac:grpSpMk id="29" creationId="{E52FC0A8-3EB5-4652-AD8B-1EE657854A4C}"/>
          </ac:grpSpMkLst>
        </pc:grpChg>
      </pc:sldChg>
      <pc:sldChg chg="addSp delSp modSp add mod">
        <pc:chgData name="Katerine Schifino" userId="37bb67de-9fcf-4611-888c-7e5b58184a2a" providerId="ADAL" clId="{58C35E70-9B3E-4909-9CC8-3720A011650A}" dt="2022-02-21T22:08:54.262" v="2865" actId="1036"/>
        <pc:sldMkLst>
          <pc:docMk/>
          <pc:sldMk cId="2196233698" sldId="2146846079"/>
        </pc:sldMkLst>
        <pc:spChg chg="add mod">
          <ac:chgData name="Katerine Schifino" userId="37bb67de-9fcf-4611-888c-7e5b58184a2a" providerId="ADAL" clId="{58C35E70-9B3E-4909-9CC8-3720A011650A}" dt="2022-02-21T22:04:26.614" v="2782" actId="20577"/>
          <ac:spMkLst>
            <pc:docMk/>
            <pc:sldMk cId="2196233698" sldId="2146846079"/>
            <ac:spMk id="4" creationId="{C70B9E81-9E4D-42CE-BD51-07A1CD890907}"/>
          </ac:spMkLst>
        </pc:spChg>
        <pc:spChg chg="add mod">
          <ac:chgData name="Katerine Schifino" userId="37bb67de-9fcf-4611-888c-7e5b58184a2a" providerId="ADAL" clId="{58C35E70-9B3E-4909-9CC8-3720A011650A}" dt="2022-02-21T22:08:54.262" v="2865" actId="1036"/>
          <ac:spMkLst>
            <pc:docMk/>
            <pc:sldMk cId="2196233698" sldId="2146846079"/>
            <ac:spMk id="5" creationId="{9FD243FD-F49C-4D4F-87E6-0BBED144B9D9}"/>
          </ac:spMkLst>
        </pc:spChg>
        <pc:spChg chg="add mod">
          <ac:chgData name="Katerine Schifino" userId="37bb67de-9fcf-4611-888c-7e5b58184a2a" providerId="ADAL" clId="{58C35E70-9B3E-4909-9CC8-3720A011650A}" dt="2022-02-21T22:08:54.262" v="2865" actId="1036"/>
          <ac:spMkLst>
            <pc:docMk/>
            <pc:sldMk cId="2196233698" sldId="2146846079"/>
            <ac:spMk id="7" creationId="{DDEA84F3-FC20-4CF9-99B3-0AFF6AE5906B}"/>
          </ac:spMkLst>
        </pc:spChg>
        <pc:spChg chg="add mod">
          <ac:chgData name="Katerine Schifino" userId="37bb67de-9fcf-4611-888c-7e5b58184a2a" providerId="ADAL" clId="{58C35E70-9B3E-4909-9CC8-3720A011650A}" dt="2022-02-21T22:08:40.875" v="2840" actId="1076"/>
          <ac:spMkLst>
            <pc:docMk/>
            <pc:sldMk cId="2196233698" sldId="2146846079"/>
            <ac:spMk id="9" creationId="{4DAB6B81-A634-4659-AE77-A9108D3D332F}"/>
          </ac:spMkLst>
        </pc:spChg>
        <pc:spChg chg="mod">
          <ac:chgData name="Katerine Schifino" userId="37bb67de-9fcf-4611-888c-7e5b58184a2a" providerId="ADAL" clId="{58C35E70-9B3E-4909-9CC8-3720A011650A}" dt="2022-02-21T22:01:52.966" v="2715" actId="20577"/>
          <ac:spMkLst>
            <pc:docMk/>
            <pc:sldMk cId="2196233698" sldId="2146846079"/>
            <ac:spMk id="10" creationId="{5FEBD768-6CBB-4D42-B186-30EDCE4EE10B}"/>
          </ac:spMkLst>
        </pc:spChg>
        <pc:spChg chg="add del mod">
          <ac:chgData name="Katerine Schifino" userId="37bb67de-9fcf-4611-888c-7e5b58184a2a" providerId="ADAL" clId="{58C35E70-9B3E-4909-9CC8-3720A011650A}" dt="2022-02-21T20:31:49.159" v="1850" actId="478"/>
          <ac:spMkLst>
            <pc:docMk/>
            <pc:sldMk cId="2196233698" sldId="2146846079"/>
            <ac:spMk id="12" creationId="{C4F7B1C3-883F-4E23-9F19-A4F53B5357DC}"/>
          </ac:spMkLst>
        </pc:spChg>
        <pc:spChg chg="add del mod">
          <ac:chgData name="Katerine Schifino" userId="37bb67de-9fcf-4611-888c-7e5b58184a2a" providerId="ADAL" clId="{58C35E70-9B3E-4909-9CC8-3720A011650A}" dt="2022-02-21T20:31:49.159" v="1850" actId="478"/>
          <ac:spMkLst>
            <pc:docMk/>
            <pc:sldMk cId="2196233698" sldId="2146846079"/>
            <ac:spMk id="14" creationId="{71FE0D8E-F6B1-465B-822F-977CD9CB31A1}"/>
          </ac:spMkLst>
        </pc:spChg>
        <pc:spChg chg="del">
          <ac:chgData name="Katerine Schifino" userId="37bb67de-9fcf-4611-888c-7e5b58184a2a" providerId="ADAL" clId="{58C35E70-9B3E-4909-9CC8-3720A011650A}" dt="2022-02-21T20:21:41.679" v="1703" actId="478"/>
          <ac:spMkLst>
            <pc:docMk/>
            <pc:sldMk cId="2196233698" sldId="2146846079"/>
            <ac:spMk id="15" creationId="{CE240FE3-6669-44CE-944F-5CBFC9DD569D}"/>
          </ac:spMkLst>
        </pc:spChg>
        <pc:spChg chg="add del mod">
          <ac:chgData name="Katerine Schifino" userId="37bb67de-9fcf-4611-888c-7e5b58184a2a" providerId="ADAL" clId="{58C35E70-9B3E-4909-9CC8-3720A011650A}" dt="2022-02-21T20:31:49.159" v="1850" actId="478"/>
          <ac:spMkLst>
            <pc:docMk/>
            <pc:sldMk cId="2196233698" sldId="2146846079"/>
            <ac:spMk id="16" creationId="{6E75FF82-9BF9-4836-90E8-58A437099342}"/>
          </ac:spMkLst>
        </pc:spChg>
        <pc:spChg chg="del">
          <ac:chgData name="Katerine Schifino" userId="37bb67de-9fcf-4611-888c-7e5b58184a2a" providerId="ADAL" clId="{58C35E70-9B3E-4909-9CC8-3720A011650A}" dt="2022-02-21T20:21:41.679" v="1703" actId="478"/>
          <ac:spMkLst>
            <pc:docMk/>
            <pc:sldMk cId="2196233698" sldId="2146846079"/>
            <ac:spMk id="17" creationId="{C2F41610-68A9-424E-AEF5-EFBCF326687A}"/>
          </ac:spMkLst>
        </pc:spChg>
        <pc:spChg chg="add del mod">
          <ac:chgData name="Katerine Schifino" userId="37bb67de-9fcf-4611-888c-7e5b58184a2a" providerId="ADAL" clId="{58C35E70-9B3E-4909-9CC8-3720A011650A}" dt="2022-02-21T20:31:49.159" v="1850" actId="478"/>
          <ac:spMkLst>
            <pc:docMk/>
            <pc:sldMk cId="2196233698" sldId="2146846079"/>
            <ac:spMk id="23" creationId="{88527154-CF73-4B8D-A84D-679680C2F53F}"/>
          </ac:spMkLst>
        </pc:spChg>
        <pc:spChg chg="del">
          <ac:chgData name="Katerine Schifino" userId="37bb67de-9fcf-4611-888c-7e5b58184a2a" providerId="ADAL" clId="{58C35E70-9B3E-4909-9CC8-3720A011650A}" dt="2022-02-21T20:21:41.679" v="1703" actId="478"/>
          <ac:spMkLst>
            <pc:docMk/>
            <pc:sldMk cId="2196233698" sldId="2146846079"/>
            <ac:spMk id="27" creationId="{5A095F37-E01E-4D83-B7EB-6C5A5789F7CE}"/>
          </ac:spMkLst>
        </pc:spChg>
        <pc:spChg chg="del">
          <ac:chgData name="Katerine Schifino" userId="37bb67de-9fcf-4611-888c-7e5b58184a2a" providerId="ADAL" clId="{58C35E70-9B3E-4909-9CC8-3720A011650A}" dt="2022-02-21T20:21:41.679" v="1703" actId="478"/>
          <ac:spMkLst>
            <pc:docMk/>
            <pc:sldMk cId="2196233698" sldId="2146846079"/>
            <ac:spMk id="31" creationId="{B6FD31D8-8991-4AA8-8A8D-89A8769B8676}"/>
          </ac:spMkLst>
        </pc:spChg>
        <pc:picChg chg="add del mod">
          <ac:chgData name="Katerine Schifino" userId="37bb67de-9fcf-4611-888c-7e5b58184a2a" providerId="ADAL" clId="{58C35E70-9B3E-4909-9CC8-3720A011650A}" dt="2022-02-21T20:31:49.159" v="1850" actId="478"/>
          <ac:picMkLst>
            <pc:docMk/>
            <pc:sldMk cId="2196233698" sldId="2146846079"/>
            <ac:picMk id="6" creationId="{00D53407-2BA9-42F9-B028-A0D53BCDF805}"/>
          </ac:picMkLst>
        </pc:picChg>
        <pc:picChg chg="add del mod">
          <ac:chgData name="Katerine Schifino" userId="37bb67de-9fcf-4611-888c-7e5b58184a2a" providerId="ADAL" clId="{58C35E70-9B3E-4909-9CC8-3720A011650A}" dt="2022-02-21T20:31:49.159" v="1850" actId="478"/>
          <ac:picMkLst>
            <pc:docMk/>
            <pc:sldMk cId="2196233698" sldId="2146846079"/>
            <ac:picMk id="8" creationId="{46CEB85F-9CA6-4771-9F47-8E7A409F5D35}"/>
          </ac:picMkLst>
        </pc:picChg>
        <pc:picChg chg="add del mod">
          <ac:chgData name="Katerine Schifino" userId="37bb67de-9fcf-4611-888c-7e5b58184a2a" providerId="ADAL" clId="{58C35E70-9B3E-4909-9CC8-3720A011650A}" dt="2022-02-21T20:31:49.159" v="1850" actId="478"/>
          <ac:picMkLst>
            <pc:docMk/>
            <pc:sldMk cId="2196233698" sldId="2146846079"/>
            <ac:picMk id="11" creationId="{344B1EB0-86B5-481C-ADEF-B83EE32235DD}"/>
          </ac:picMkLst>
        </pc:picChg>
        <pc:picChg chg="del">
          <ac:chgData name="Katerine Schifino" userId="37bb67de-9fcf-4611-888c-7e5b58184a2a" providerId="ADAL" clId="{58C35E70-9B3E-4909-9CC8-3720A011650A}" dt="2022-02-21T20:21:41.679" v="1703" actId="478"/>
          <ac:picMkLst>
            <pc:docMk/>
            <pc:sldMk cId="2196233698" sldId="2146846079"/>
            <ac:picMk id="24586" creationId="{59243879-C047-4141-A23F-2A1A46338A1C}"/>
          </ac:picMkLst>
        </pc:picChg>
        <pc:picChg chg="del">
          <ac:chgData name="Katerine Schifino" userId="37bb67de-9fcf-4611-888c-7e5b58184a2a" providerId="ADAL" clId="{58C35E70-9B3E-4909-9CC8-3720A011650A}" dt="2022-02-21T20:21:41.679" v="1703" actId="478"/>
          <ac:picMkLst>
            <pc:docMk/>
            <pc:sldMk cId="2196233698" sldId="2146846079"/>
            <ac:picMk id="24588" creationId="{FECDDE79-4B05-438C-BF12-36ED6A3E1EC7}"/>
          </ac:picMkLst>
        </pc:picChg>
        <pc:picChg chg="del">
          <ac:chgData name="Katerine Schifino" userId="37bb67de-9fcf-4611-888c-7e5b58184a2a" providerId="ADAL" clId="{58C35E70-9B3E-4909-9CC8-3720A011650A}" dt="2022-02-21T20:21:41.679" v="1703" actId="478"/>
          <ac:picMkLst>
            <pc:docMk/>
            <pc:sldMk cId="2196233698" sldId="2146846079"/>
            <ac:picMk id="24590" creationId="{76FF6099-6AF5-477C-AED7-D19BE1DDBF03}"/>
          </ac:picMkLst>
        </pc:picChg>
        <pc:picChg chg="del">
          <ac:chgData name="Katerine Schifino" userId="37bb67de-9fcf-4611-888c-7e5b58184a2a" providerId="ADAL" clId="{58C35E70-9B3E-4909-9CC8-3720A011650A}" dt="2022-02-21T20:21:41.679" v="1703" actId="478"/>
          <ac:picMkLst>
            <pc:docMk/>
            <pc:sldMk cId="2196233698" sldId="2146846079"/>
            <ac:picMk id="24592" creationId="{1586548B-FCE7-4369-9422-9E3710FDE0E2}"/>
          </ac:picMkLst>
        </pc:picChg>
      </pc:sldChg>
      <pc:sldChg chg="addSp modSp add mod">
        <pc:chgData name="Katerine Schifino" userId="37bb67de-9fcf-4611-888c-7e5b58184a2a" providerId="ADAL" clId="{58C35E70-9B3E-4909-9CC8-3720A011650A}" dt="2022-02-21T22:12:46.523" v="2919" actId="1076"/>
        <pc:sldMkLst>
          <pc:docMk/>
          <pc:sldMk cId="3585673595" sldId="2146846080"/>
        </pc:sldMkLst>
        <pc:spChg chg="add mod">
          <ac:chgData name="Katerine Schifino" userId="37bb67de-9fcf-4611-888c-7e5b58184a2a" providerId="ADAL" clId="{58C35E70-9B3E-4909-9CC8-3720A011650A}" dt="2022-02-21T22:12:46.523" v="2919" actId="1076"/>
          <ac:spMkLst>
            <pc:docMk/>
            <pc:sldMk cId="3585673595" sldId="2146846080"/>
            <ac:spMk id="4" creationId="{D055F06A-85C8-4BA3-A328-AB25973059F1}"/>
          </ac:spMkLst>
        </pc:spChg>
        <pc:spChg chg="mod">
          <ac:chgData name="Katerine Schifino" userId="37bb67de-9fcf-4611-888c-7e5b58184a2a" providerId="ADAL" clId="{58C35E70-9B3E-4909-9CC8-3720A011650A}" dt="2022-02-21T22:02:00.290" v="2744" actId="6549"/>
          <ac:spMkLst>
            <pc:docMk/>
            <pc:sldMk cId="3585673595" sldId="2146846080"/>
            <ac:spMk id="10" creationId="{5FEBD768-6CBB-4D42-B186-30EDCE4EE10B}"/>
          </ac:spMkLst>
        </pc:spChg>
      </pc:sldChg>
      <pc:sldChg chg="modSp add mod">
        <pc:chgData name="Katerine Schifino" userId="37bb67de-9fcf-4611-888c-7e5b58184a2a" providerId="ADAL" clId="{58C35E70-9B3E-4909-9CC8-3720A011650A}" dt="2022-02-21T22:02:05.838" v="2753" actId="20577"/>
        <pc:sldMkLst>
          <pc:docMk/>
          <pc:sldMk cId="3978227140" sldId="2146846081"/>
        </pc:sldMkLst>
        <pc:spChg chg="mod">
          <ac:chgData name="Katerine Schifino" userId="37bb67de-9fcf-4611-888c-7e5b58184a2a" providerId="ADAL" clId="{58C35E70-9B3E-4909-9CC8-3720A011650A}" dt="2022-02-21T22:02:05.838" v="2753" actId="20577"/>
          <ac:spMkLst>
            <pc:docMk/>
            <pc:sldMk cId="3978227140" sldId="2146846081"/>
            <ac:spMk id="10" creationId="{5FEBD768-6CBB-4D42-B186-30EDCE4EE10B}"/>
          </ac:spMkLst>
        </pc:spChg>
      </pc:sldChg>
      <pc:sldChg chg="modSp add mod">
        <pc:chgData name="Katerine Schifino" userId="37bb67de-9fcf-4611-888c-7e5b58184a2a" providerId="ADAL" clId="{58C35E70-9B3E-4909-9CC8-3720A011650A}" dt="2022-02-21T22:02:13.251" v="2770" actId="20577"/>
        <pc:sldMkLst>
          <pc:docMk/>
          <pc:sldMk cId="2951859435" sldId="2146846082"/>
        </pc:sldMkLst>
        <pc:spChg chg="mod">
          <ac:chgData name="Katerine Schifino" userId="37bb67de-9fcf-4611-888c-7e5b58184a2a" providerId="ADAL" clId="{58C35E70-9B3E-4909-9CC8-3720A011650A}" dt="2022-02-21T22:02:13.251" v="2770" actId="20577"/>
          <ac:spMkLst>
            <pc:docMk/>
            <pc:sldMk cId="2951859435" sldId="2146846082"/>
            <ac:spMk id="10" creationId="{5FEBD768-6CBB-4D42-B186-30EDCE4EE10B}"/>
          </ac:spMkLst>
        </pc:spChg>
      </pc:sldChg>
    </pc:docChg>
  </pc:docChgLst>
  <pc:docChgLst>
    <pc:chgData name="Katerine Schifino" userId="37bb67de-9fcf-4611-888c-7e5b58184a2a" providerId="ADAL" clId="{FBCE2227-C23E-4034-8BF3-5564E1D3696E}"/>
    <pc:docChg chg="custSel addSld modSld">
      <pc:chgData name="Katerine Schifino" userId="37bb67de-9fcf-4611-888c-7e5b58184a2a" providerId="ADAL" clId="{FBCE2227-C23E-4034-8BF3-5564E1D3696E}" dt="2022-03-08T22:49:20.691" v="153" actId="20577"/>
      <pc:docMkLst>
        <pc:docMk/>
      </pc:docMkLst>
      <pc:sldChg chg="modSp mod">
        <pc:chgData name="Katerine Schifino" userId="37bb67de-9fcf-4611-888c-7e5b58184a2a" providerId="ADAL" clId="{FBCE2227-C23E-4034-8BF3-5564E1D3696E}" dt="2022-03-08T22:49:20.691" v="153" actId="20577"/>
        <pc:sldMkLst>
          <pc:docMk/>
          <pc:sldMk cId="1390084327" sldId="2146846067"/>
        </pc:sldMkLst>
        <pc:spChg chg="mod">
          <ac:chgData name="Katerine Schifino" userId="37bb67de-9fcf-4611-888c-7e5b58184a2a" providerId="ADAL" clId="{FBCE2227-C23E-4034-8BF3-5564E1D3696E}" dt="2022-03-08T22:49:20.691" v="153" actId="20577"/>
          <ac:spMkLst>
            <pc:docMk/>
            <pc:sldMk cId="1390084327" sldId="2146846067"/>
            <ac:spMk id="4" creationId="{2ED80763-D8A0-45A2-9778-83954983BC11}"/>
          </ac:spMkLst>
        </pc:spChg>
      </pc:sldChg>
      <pc:sldChg chg="modSp mod">
        <pc:chgData name="Katerine Schifino" userId="37bb67de-9fcf-4611-888c-7e5b58184a2a" providerId="ADAL" clId="{FBCE2227-C23E-4034-8BF3-5564E1D3696E}" dt="2022-03-08T22:27:23.329" v="129" actId="20577"/>
        <pc:sldMkLst>
          <pc:docMk/>
          <pc:sldMk cId="4122836090" sldId="2146846075"/>
        </pc:sldMkLst>
        <pc:spChg chg="mod">
          <ac:chgData name="Katerine Schifino" userId="37bb67de-9fcf-4611-888c-7e5b58184a2a" providerId="ADAL" clId="{FBCE2227-C23E-4034-8BF3-5564E1D3696E}" dt="2022-03-08T22:27:23.329" v="129" actId="20577"/>
          <ac:spMkLst>
            <pc:docMk/>
            <pc:sldMk cId="4122836090" sldId="2146846075"/>
            <ac:spMk id="13" creationId="{0CC1DEC0-02FA-4074-9C99-500B9CED8FE2}"/>
          </ac:spMkLst>
        </pc:spChg>
      </pc:sldChg>
      <pc:sldChg chg="modSp mod">
        <pc:chgData name="Katerine Schifino" userId="37bb67de-9fcf-4611-888c-7e5b58184a2a" providerId="ADAL" clId="{FBCE2227-C23E-4034-8BF3-5564E1D3696E}" dt="2022-03-08T22:29:21.046" v="130" actId="5793"/>
        <pc:sldMkLst>
          <pc:docMk/>
          <pc:sldMk cId="4029788326" sldId="2146846083"/>
        </pc:sldMkLst>
        <pc:spChg chg="mod">
          <ac:chgData name="Katerine Schifino" userId="37bb67de-9fcf-4611-888c-7e5b58184a2a" providerId="ADAL" clId="{FBCE2227-C23E-4034-8BF3-5564E1D3696E}" dt="2022-03-08T22:29:21.046" v="130" actId="5793"/>
          <ac:spMkLst>
            <pc:docMk/>
            <pc:sldMk cId="4029788326" sldId="2146846083"/>
            <ac:spMk id="10" creationId="{A5B12F80-DF72-4288-96C7-59EB50B81B32}"/>
          </ac:spMkLst>
        </pc:spChg>
      </pc:sldChg>
      <pc:sldChg chg="modSp add mod">
        <pc:chgData name="Katerine Schifino" userId="37bb67de-9fcf-4611-888c-7e5b58184a2a" providerId="ADAL" clId="{FBCE2227-C23E-4034-8BF3-5564E1D3696E}" dt="2022-03-08T22:24:08.541" v="126" actId="5793"/>
        <pc:sldMkLst>
          <pc:docMk/>
          <pc:sldMk cId="3819789892" sldId="2146846087"/>
        </pc:sldMkLst>
        <pc:spChg chg="mod">
          <ac:chgData name="Katerine Schifino" userId="37bb67de-9fcf-4611-888c-7e5b58184a2a" providerId="ADAL" clId="{FBCE2227-C23E-4034-8BF3-5564E1D3696E}" dt="2022-03-08T22:24:08.541" v="126" actId="5793"/>
          <ac:spMkLst>
            <pc:docMk/>
            <pc:sldMk cId="3819789892" sldId="2146846087"/>
            <ac:spMk id="2" creationId="{C0E9A057-F805-4750-9C97-49B491EDA40C}"/>
          </ac:spMkLst>
        </pc:spChg>
      </pc:sldChg>
      <pc:sldChg chg="addSp delSp modSp add mod modClrScheme chgLayout">
        <pc:chgData name="Katerine Schifino" userId="37bb67de-9fcf-4611-888c-7e5b58184a2a" providerId="ADAL" clId="{FBCE2227-C23E-4034-8BF3-5564E1D3696E}" dt="2022-03-08T22:43:22.397" v="136" actId="700"/>
        <pc:sldMkLst>
          <pc:docMk/>
          <pc:sldMk cId="383325140" sldId="2146846088"/>
        </pc:sldMkLst>
        <pc:spChg chg="del">
          <ac:chgData name="Katerine Schifino" userId="37bb67de-9fcf-4611-888c-7e5b58184a2a" providerId="ADAL" clId="{FBCE2227-C23E-4034-8BF3-5564E1D3696E}" dt="2022-03-08T22:43:05.616" v="132" actId="478"/>
          <ac:spMkLst>
            <pc:docMk/>
            <pc:sldMk cId="383325140" sldId="2146846088"/>
            <ac:spMk id="3" creationId="{D27D7BD4-79A4-4F74-AEDD-B6DF3D38FA7F}"/>
          </ac:spMkLst>
        </pc:spChg>
        <pc:spChg chg="add mod">
          <ac:chgData name="Katerine Schifino" userId="37bb67de-9fcf-4611-888c-7e5b58184a2a" providerId="ADAL" clId="{FBCE2227-C23E-4034-8BF3-5564E1D3696E}" dt="2022-03-08T22:43:15.927" v="135" actId="20577"/>
          <ac:spMkLst>
            <pc:docMk/>
            <pc:sldMk cId="383325140" sldId="2146846088"/>
            <ac:spMk id="20" creationId="{78B5DFB7-95B6-48CF-B15E-D9245E492B65}"/>
          </ac:spMkLst>
        </pc:spChg>
        <pc:spChg chg="del">
          <ac:chgData name="Katerine Schifino" userId="37bb67de-9fcf-4611-888c-7e5b58184a2a" providerId="ADAL" clId="{FBCE2227-C23E-4034-8BF3-5564E1D3696E}" dt="2022-03-08T22:43:05.616" v="132" actId="478"/>
          <ac:spMkLst>
            <pc:docMk/>
            <pc:sldMk cId="383325140" sldId="2146846088"/>
            <ac:spMk id="22" creationId="{CBEC229F-1C20-4AA7-A2AE-C210AF86D9A8}"/>
          </ac:spMkLst>
        </pc:spChg>
        <pc:spChg chg="del">
          <ac:chgData name="Katerine Schifino" userId="37bb67de-9fcf-4611-888c-7e5b58184a2a" providerId="ADAL" clId="{FBCE2227-C23E-4034-8BF3-5564E1D3696E}" dt="2022-03-08T22:43:05.616" v="132" actId="478"/>
          <ac:spMkLst>
            <pc:docMk/>
            <pc:sldMk cId="383325140" sldId="2146846088"/>
            <ac:spMk id="54" creationId="{CA33CA92-6C9A-4BBF-A9CA-3EB3057DD5D4}"/>
          </ac:spMkLst>
        </pc:spChg>
        <pc:grpChg chg="del">
          <ac:chgData name="Katerine Schifino" userId="37bb67de-9fcf-4611-888c-7e5b58184a2a" providerId="ADAL" clId="{FBCE2227-C23E-4034-8BF3-5564E1D3696E}" dt="2022-03-08T22:43:05.616" v="132" actId="478"/>
          <ac:grpSpMkLst>
            <pc:docMk/>
            <pc:sldMk cId="383325140" sldId="2146846088"/>
            <ac:grpSpMk id="7" creationId="{80E7C45C-7072-4B11-99EE-90D286C673E1}"/>
          </ac:grpSpMkLst>
        </pc:grpChg>
        <pc:grpChg chg="del">
          <ac:chgData name="Katerine Schifino" userId="37bb67de-9fcf-4611-888c-7e5b58184a2a" providerId="ADAL" clId="{FBCE2227-C23E-4034-8BF3-5564E1D3696E}" dt="2022-03-08T22:43:07.781" v="133" actId="478"/>
          <ac:grpSpMkLst>
            <pc:docMk/>
            <pc:sldMk cId="383325140" sldId="2146846088"/>
            <ac:grpSpMk id="66" creationId="{D318F929-8C14-45A1-BEFB-74C0BDA9F4D8}"/>
          </ac:grpSpMkLst>
        </pc:grpChg>
      </pc:sldChg>
    </pc:docChg>
  </pc:docChgLst>
  <pc:docChgLst>
    <pc:chgData name="Katerine Schifino" userId="37bb67de-9fcf-4611-888c-7e5b58184a2a" providerId="ADAL" clId="{D7BBC3CB-68AE-4307-9B5F-60512B429BF0}"/>
    <pc:docChg chg="undo redo custSel addSld delSld modSld sldOrd modMainMaster addSection delSection modSection">
      <pc:chgData name="Katerine Schifino" userId="37bb67de-9fcf-4611-888c-7e5b58184a2a" providerId="ADAL" clId="{D7BBC3CB-68AE-4307-9B5F-60512B429BF0}" dt="2022-03-24T19:07:46.450" v="9649" actId="20577"/>
      <pc:docMkLst>
        <pc:docMk/>
      </pc:docMkLst>
      <pc:sldChg chg="addSp delSp modSp add mod ord modClrScheme modAnim chgLayout">
        <pc:chgData name="Katerine Schifino" userId="37bb67de-9fcf-4611-888c-7e5b58184a2a" providerId="ADAL" clId="{D7BBC3CB-68AE-4307-9B5F-60512B429BF0}" dt="2022-03-24T14:20:38.413" v="9546" actId="478"/>
        <pc:sldMkLst>
          <pc:docMk/>
          <pc:sldMk cId="3768827191" sldId="385"/>
        </pc:sldMkLst>
        <pc:spChg chg="mod topLvl">
          <ac:chgData name="Katerine Schifino" userId="37bb67de-9fcf-4611-888c-7e5b58184a2a" providerId="ADAL" clId="{D7BBC3CB-68AE-4307-9B5F-60512B429BF0}" dt="2022-03-23T13:28:05.573" v="1108" actId="12789"/>
          <ac:spMkLst>
            <pc:docMk/>
            <pc:sldMk cId="3768827191" sldId="385"/>
            <ac:spMk id="9" creationId="{00000000-0000-0000-0000-000000000000}"/>
          </ac:spMkLst>
        </pc:spChg>
        <pc:spChg chg="mod topLvl">
          <ac:chgData name="Katerine Schifino" userId="37bb67de-9fcf-4611-888c-7e5b58184a2a" providerId="ADAL" clId="{D7BBC3CB-68AE-4307-9B5F-60512B429BF0}" dt="2022-03-23T20:27:35.921" v="3631" actId="20577"/>
          <ac:spMkLst>
            <pc:docMk/>
            <pc:sldMk cId="3768827191" sldId="385"/>
            <ac:spMk id="11" creationId="{00000000-0000-0000-0000-000000000000}"/>
          </ac:spMkLst>
        </pc:spChg>
        <pc:spChg chg="mod topLvl">
          <ac:chgData name="Katerine Schifino" userId="37bb67de-9fcf-4611-888c-7e5b58184a2a" providerId="ADAL" clId="{D7BBC3CB-68AE-4307-9B5F-60512B429BF0}" dt="2022-03-23T19:14:29.680" v="3177" actId="1035"/>
          <ac:spMkLst>
            <pc:docMk/>
            <pc:sldMk cId="3768827191" sldId="385"/>
            <ac:spMk id="12" creationId="{00000000-0000-0000-0000-000000000000}"/>
          </ac:spMkLst>
        </pc:spChg>
        <pc:spChg chg="mod topLvl">
          <ac:chgData name="Katerine Schifino" userId="37bb67de-9fcf-4611-888c-7e5b58184a2a" providerId="ADAL" clId="{D7BBC3CB-68AE-4307-9B5F-60512B429BF0}" dt="2022-03-23T13:27:03.124" v="1071" actId="208"/>
          <ac:spMkLst>
            <pc:docMk/>
            <pc:sldMk cId="3768827191" sldId="385"/>
            <ac:spMk id="13" creationId="{00000000-0000-0000-0000-000000000000}"/>
          </ac:spMkLst>
        </pc:spChg>
        <pc:spChg chg="mod topLvl">
          <ac:chgData name="Katerine Schifino" userId="37bb67de-9fcf-4611-888c-7e5b58184a2a" providerId="ADAL" clId="{D7BBC3CB-68AE-4307-9B5F-60512B429BF0}" dt="2022-03-23T20:28:25.243" v="3645" actId="20577"/>
          <ac:spMkLst>
            <pc:docMk/>
            <pc:sldMk cId="3768827191" sldId="385"/>
            <ac:spMk id="14" creationId="{00000000-0000-0000-0000-000000000000}"/>
          </ac:spMkLst>
        </pc:spChg>
        <pc:spChg chg="mod topLvl">
          <ac:chgData name="Katerine Schifino" userId="37bb67de-9fcf-4611-888c-7e5b58184a2a" providerId="ADAL" clId="{D7BBC3CB-68AE-4307-9B5F-60512B429BF0}" dt="2022-03-23T19:14:29.680" v="3177" actId="1035"/>
          <ac:spMkLst>
            <pc:docMk/>
            <pc:sldMk cId="3768827191" sldId="385"/>
            <ac:spMk id="15" creationId="{00000000-0000-0000-0000-000000000000}"/>
          </ac:spMkLst>
        </pc:spChg>
        <pc:spChg chg="mod topLvl">
          <ac:chgData name="Katerine Schifino" userId="37bb67de-9fcf-4611-888c-7e5b58184a2a" providerId="ADAL" clId="{D7BBC3CB-68AE-4307-9B5F-60512B429BF0}" dt="2022-03-23T13:25:40.032" v="1053" actId="208"/>
          <ac:spMkLst>
            <pc:docMk/>
            <pc:sldMk cId="3768827191" sldId="385"/>
            <ac:spMk id="17" creationId="{00000000-0000-0000-0000-000000000000}"/>
          </ac:spMkLst>
        </pc:spChg>
        <pc:spChg chg="mod topLvl">
          <ac:chgData name="Katerine Schifino" userId="37bb67de-9fcf-4611-888c-7e5b58184a2a" providerId="ADAL" clId="{D7BBC3CB-68AE-4307-9B5F-60512B429BF0}" dt="2022-03-23T20:27:04.109" v="3617"/>
          <ac:spMkLst>
            <pc:docMk/>
            <pc:sldMk cId="3768827191" sldId="385"/>
            <ac:spMk id="18" creationId="{00000000-0000-0000-0000-000000000000}"/>
          </ac:spMkLst>
        </pc:spChg>
        <pc:spChg chg="mod topLvl">
          <ac:chgData name="Katerine Schifino" userId="37bb67de-9fcf-4611-888c-7e5b58184a2a" providerId="ADAL" clId="{D7BBC3CB-68AE-4307-9B5F-60512B429BF0}" dt="2022-03-23T19:14:29.680" v="3177" actId="1035"/>
          <ac:spMkLst>
            <pc:docMk/>
            <pc:sldMk cId="3768827191" sldId="385"/>
            <ac:spMk id="19" creationId="{00000000-0000-0000-0000-000000000000}"/>
          </ac:spMkLst>
        </pc:spChg>
        <pc:spChg chg="mod topLvl">
          <ac:chgData name="Katerine Schifino" userId="37bb67de-9fcf-4611-888c-7e5b58184a2a" providerId="ADAL" clId="{D7BBC3CB-68AE-4307-9B5F-60512B429BF0}" dt="2022-03-23T13:25:40.032" v="1053" actId="208"/>
          <ac:spMkLst>
            <pc:docMk/>
            <pc:sldMk cId="3768827191" sldId="385"/>
            <ac:spMk id="21" creationId="{00000000-0000-0000-0000-000000000000}"/>
          </ac:spMkLst>
        </pc:spChg>
        <pc:spChg chg="mod topLvl">
          <ac:chgData name="Katerine Schifino" userId="37bb67de-9fcf-4611-888c-7e5b58184a2a" providerId="ADAL" clId="{D7BBC3CB-68AE-4307-9B5F-60512B429BF0}" dt="2022-03-23T20:27:55.904" v="3640" actId="20577"/>
          <ac:spMkLst>
            <pc:docMk/>
            <pc:sldMk cId="3768827191" sldId="385"/>
            <ac:spMk id="22" creationId="{00000000-0000-0000-0000-000000000000}"/>
          </ac:spMkLst>
        </pc:spChg>
        <pc:spChg chg="mod topLvl">
          <ac:chgData name="Katerine Schifino" userId="37bb67de-9fcf-4611-888c-7e5b58184a2a" providerId="ADAL" clId="{D7BBC3CB-68AE-4307-9B5F-60512B429BF0}" dt="2022-03-23T19:14:29.680" v="3177" actId="1035"/>
          <ac:spMkLst>
            <pc:docMk/>
            <pc:sldMk cId="3768827191" sldId="385"/>
            <ac:spMk id="23" creationId="{00000000-0000-0000-0000-000000000000}"/>
          </ac:spMkLst>
        </pc:spChg>
        <pc:spChg chg="mod topLvl">
          <ac:chgData name="Katerine Schifino" userId="37bb67de-9fcf-4611-888c-7e5b58184a2a" providerId="ADAL" clId="{D7BBC3CB-68AE-4307-9B5F-60512B429BF0}" dt="2022-03-23T13:27:42.412" v="1080" actId="164"/>
          <ac:spMkLst>
            <pc:docMk/>
            <pc:sldMk cId="3768827191" sldId="385"/>
            <ac:spMk id="25" creationId="{00000000-0000-0000-0000-000000000000}"/>
          </ac:spMkLst>
        </pc:spChg>
        <pc:spChg chg="mod topLvl">
          <ac:chgData name="Katerine Schifino" userId="37bb67de-9fcf-4611-888c-7e5b58184a2a" providerId="ADAL" clId="{D7BBC3CB-68AE-4307-9B5F-60512B429BF0}" dt="2022-03-23T20:28:41.483" v="3646"/>
          <ac:spMkLst>
            <pc:docMk/>
            <pc:sldMk cId="3768827191" sldId="385"/>
            <ac:spMk id="26" creationId="{00000000-0000-0000-0000-000000000000}"/>
          </ac:spMkLst>
        </pc:spChg>
        <pc:spChg chg="mod topLvl">
          <ac:chgData name="Katerine Schifino" userId="37bb67de-9fcf-4611-888c-7e5b58184a2a" providerId="ADAL" clId="{D7BBC3CB-68AE-4307-9B5F-60512B429BF0}" dt="2022-03-23T19:14:29.680" v="3177" actId="1035"/>
          <ac:spMkLst>
            <pc:docMk/>
            <pc:sldMk cId="3768827191" sldId="385"/>
            <ac:spMk id="27" creationId="{00000000-0000-0000-0000-000000000000}"/>
          </ac:spMkLst>
        </pc:spChg>
        <pc:spChg chg="add del mod">
          <ac:chgData name="Katerine Schifino" userId="37bb67de-9fcf-4611-888c-7e5b58184a2a" providerId="ADAL" clId="{D7BBC3CB-68AE-4307-9B5F-60512B429BF0}" dt="2022-03-23T19:14:16.312" v="3169" actId="1076"/>
          <ac:spMkLst>
            <pc:docMk/>
            <pc:sldMk cId="3768827191" sldId="385"/>
            <ac:spMk id="29" creationId="{00000000-0000-0000-0000-000000000000}"/>
          </ac:spMkLst>
        </pc:spChg>
        <pc:spChg chg="del mod">
          <ac:chgData name="Katerine Schifino" userId="37bb67de-9fcf-4611-888c-7e5b58184a2a" providerId="ADAL" clId="{D7BBC3CB-68AE-4307-9B5F-60512B429BF0}" dt="2022-03-23T13:24:06.442" v="967" actId="478"/>
          <ac:spMkLst>
            <pc:docMk/>
            <pc:sldMk cId="3768827191" sldId="385"/>
            <ac:spMk id="30" creationId="{00000000-0000-0000-0000-000000000000}"/>
          </ac:spMkLst>
        </pc:spChg>
        <pc:spChg chg="add mod">
          <ac:chgData name="Katerine Schifino" userId="37bb67de-9fcf-4611-888c-7e5b58184a2a" providerId="ADAL" clId="{D7BBC3CB-68AE-4307-9B5F-60512B429BF0}" dt="2022-03-23T20:26:38.872" v="3616" actId="20577"/>
          <ac:spMkLst>
            <pc:docMk/>
            <pc:sldMk cId="3768827191" sldId="385"/>
            <ac:spMk id="31" creationId="{22C86BCD-FEA4-440C-830D-440B6362E335}"/>
          </ac:spMkLst>
        </pc:spChg>
        <pc:spChg chg="add del mod">
          <ac:chgData name="Katerine Schifino" userId="37bb67de-9fcf-4611-888c-7e5b58184a2a" providerId="ADAL" clId="{D7BBC3CB-68AE-4307-9B5F-60512B429BF0}" dt="2022-03-24T14:20:38.413" v="9546" actId="478"/>
          <ac:spMkLst>
            <pc:docMk/>
            <pc:sldMk cId="3768827191" sldId="385"/>
            <ac:spMk id="37" creationId="{5B511F08-70D5-4B78-BC35-FD7ED689E03F}"/>
          </ac:spMkLst>
        </pc:spChg>
        <pc:grpChg chg="del">
          <ac:chgData name="Katerine Schifino" userId="37bb67de-9fcf-4611-888c-7e5b58184a2a" providerId="ADAL" clId="{D7BBC3CB-68AE-4307-9B5F-60512B429BF0}" dt="2022-03-23T13:24:46.134" v="1015" actId="165"/>
          <ac:grpSpMkLst>
            <pc:docMk/>
            <pc:sldMk cId="3768827191" sldId="385"/>
            <ac:grpSpMk id="3" creationId="{00000000-0000-0000-0000-000000000000}"/>
          </ac:grpSpMkLst>
        </pc:grpChg>
        <pc:grpChg chg="del">
          <ac:chgData name="Katerine Schifino" userId="37bb67de-9fcf-4611-888c-7e5b58184a2a" providerId="ADAL" clId="{D7BBC3CB-68AE-4307-9B5F-60512B429BF0}" dt="2022-03-23T13:24:46.134" v="1015" actId="165"/>
          <ac:grpSpMkLst>
            <pc:docMk/>
            <pc:sldMk cId="3768827191" sldId="385"/>
            <ac:grpSpMk id="4" creationId="{00000000-0000-0000-0000-000000000000}"/>
          </ac:grpSpMkLst>
        </pc:grpChg>
        <pc:grpChg chg="del">
          <ac:chgData name="Katerine Schifino" userId="37bb67de-9fcf-4611-888c-7e5b58184a2a" providerId="ADAL" clId="{D7BBC3CB-68AE-4307-9B5F-60512B429BF0}" dt="2022-03-23T13:24:46.134" v="1015" actId="165"/>
          <ac:grpSpMkLst>
            <pc:docMk/>
            <pc:sldMk cId="3768827191" sldId="385"/>
            <ac:grpSpMk id="5" creationId="{00000000-0000-0000-0000-000000000000}"/>
          </ac:grpSpMkLst>
        </pc:grpChg>
        <pc:grpChg chg="del">
          <ac:chgData name="Katerine Schifino" userId="37bb67de-9fcf-4611-888c-7e5b58184a2a" providerId="ADAL" clId="{D7BBC3CB-68AE-4307-9B5F-60512B429BF0}" dt="2022-03-23T13:24:46.134" v="1015" actId="165"/>
          <ac:grpSpMkLst>
            <pc:docMk/>
            <pc:sldMk cId="3768827191" sldId="385"/>
            <ac:grpSpMk id="6" creationId="{00000000-0000-0000-0000-000000000000}"/>
          </ac:grpSpMkLst>
        </pc:grpChg>
        <pc:grpChg chg="del">
          <ac:chgData name="Katerine Schifino" userId="37bb67de-9fcf-4611-888c-7e5b58184a2a" providerId="ADAL" clId="{D7BBC3CB-68AE-4307-9B5F-60512B429BF0}" dt="2022-03-23T13:24:46.134" v="1015" actId="165"/>
          <ac:grpSpMkLst>
            <pc:docMk/>
            <pc:sldMk cId="3768827191" sldId="385"/>
            <ac:grpSpMk id="7" creationId="{00000000-0000-0000-0000-000000000000}"/>
          </ac:grpSpMkLst>
        </pc:grpChg>
        <pc:grpChg chg="add mod">
          <ac:chgData name="Katerine Schifino" userId="37bb67de-9fcf-4611-888c-7e5b58184a2a" providerId="ADAL" clId="{D7BBC3CB-68AE-4307-9B5F-60512B429BF0}" dt="2022-03-23T13:27:42.412" v="1080" actId="164"/>
          <ac:grpSpMkLst>
            <pc:docMk/>
            <pc:sldMk cId="3768827191" sldId="385"/>
            <ac:grpSpMk id="36" creationId="{66BD77E6-9247-4A8E-A007-E91B3D652549}"/>
          </ac:grpSpMkLst>
        </pc:grpChg>
        <pc:picChg chg="add mod">
          <ac:chgData name="Katerine Schifino" userId="37bb67de-9fcf-4611-888c-7e5b58184a2a" providerId="ADAL" clId="{D7BBC3CB-68AE-4307-9B5F-60512B429BF0}" dt="2022-03-23T13:26:18.639" v="1062" actId="1076"/>
          <ac:picMkLst>
            <pc:docMk/>
            <pc:sldMk cId="3768827191" sldId="385"/>
            <ac:picMk id="8" creationId="{8902D530-99F3-492D-B38B-2F0220702DE5}"/>
          </ac:picMkLst>
        </pc:picChg>
        <pc:picChg chg="mod topLvl">
          <ac:chgData name="Katerine Schifino" userId="37bb67de-9fcf-4611-888c-7e5b58184a2a" providerId="ADAL" clId="{D7BBC3CB-68AE-4307-9B5F-60512B429BF0}" dt="2022-03-23T13:28:05.573" v="1108" actId="12789"/>
          <ac:picMkLst>
            <pc:docMk/>
            <pc:sldMk cId="3768827191" sldId="385"/>
            <ac:picMk id="10" creationId="{00000000-0000-0000-0000-000000000000}"/>
          </ac:picMkLst>
        </pc:picChg>
        <pc:picChg chg="mod topLvl">
          <ac:chgData name="Katerine Schifino" userId="37bb67de-9fcf-4611-888c-7e5b58184a2a" providerId="ADAL" clId="{D7BBC3CB-68AE-4307-9B5F-60512B429BF0}" dt="2022-03-23T13:25:13.861" v="1049" actId="1035"/>
          <ac:picMkLst>
            <pc:docMk/>
            <pc:sldMk cId="3768827191" sldId="385"/>
            <ac:picMk id="16" creationId="{00000000-0000-0000-0000-000000000000}"/>
          </ac:picMkLst>
        </pc:picChg>
        <pc:picChg chg="del mod topLvl">
          <ac:chgData name="Katerine Schifino" userId="37bb67de-9fcf-4611-888c-7e5b58184a2a" providerId="ADAL" clId="{D7BBC3CB-68AE-4307-9B5F-60512B429BF0}" dt="2022-03-23T13:26:07.633" v="1059" actId="478"/>
          <ac:picMkLst>
            <pc:docMk/>
            <pc:sldMk cId="3768827191" sldId="385"/>
            <ac:picMk id="20" creationId="{00000000-0000-0000-0000-000000000000}"/>
          </ac:picMkLst>
        </pc:picChg>
        <pc:picChg chg="del mod topLvl">
          <ac:chgData name="Katerine Schifino" userId="37bb67de-9fcf-4611-888c-7e5b58184a2a" providerId="ADAL" clId="{D7BBC3CB-68AE-4307-9B5F-60512B429BF0}" dt="2022-03-23T13:26:24.048" v="1063" actId="478"/>
          <ac:picMkLst>
            <pc:docMk/>
            <pc:sldMk cId="3768827191" sldId="385"/>
            <ac:picMk id="24" creationId="{00000000-0000-0000-0000-000000000000}"/>
          </ac:picMkLst>
        </pc:picChg>
        <pc:picChg chg="del mod topLvl">
          <ac:chgData name="Katerine Schifino" userId="37bb67de-9fcf-4611-888c-7e5b58184a2a" providerId="ADAL" clId="{D7BBC3CB-68AE-4307-9B5F-60512B429BF0}" dt="2022-03-23T13:26:57.832" v="1069" actId="478"/>
          <ac:picMkLst>
            <pc:docMk/>
            <pc:sldMk cId="3768827191" sldId="385"/>
            <ac:picMk id="28" creationId="{00000000-0000-0000-0000-000000000000}"/>
          </ac:picMkLst>
        </pc:picChg>
        <pc:picChg chg="add mod">
          <ac:chgData name="Katerine Schifino" userId="37bb67de-9fcf-4611-888c-7e5b58184a2a" providerId="ADAL" clId="{D7BBC3CB-68AE-4307-9B5F-60512B429BF0}" dt="2022-03-23T13:26:54.146" v="1068" actId="1076"/>
          <ac:picMkLst>
            <pc:docMk/>
            <pc:sldMk cId="3768827191" sldId="385"/>
            <ac:picMk id="33" creationId="{1A0F90CB-D898-47F9-8E1C-9794B06118B0}"/>
          </ac:picMkLst>
        </pc:picChg>
        <pc:picChg chg="add mod">
          <ac:chgData name="Katerine Schifino" userId="37bb67de-9fcf-4611-888c-7e5b58184a2a" providerId="ADAL" clId="{D7BBC3CB-68AE-4307-9B5F-60512B429BF0}" dt="2022-03-23T13:27:42.412" v="1080" actId="164"/>
          <ac:picMkLst>
            <pc:docMk/>
            <pc:sldMk cId="3768827191" sldId="385"/>
            <ac:picMk id="35" creationId="{57932658-D87F-41A9-AF80-C6CE8BABF426}"/>
          </ac:picMkLst>
        </pc:picChg>
        <pc:picChg chg="add del mod">
          <ac:chgData name="Katerine Schifino" userId="37bb67de-9fcf-4611-888c-7e5b58184a2a" providerId="ADAL" clId="{D7BBC3CB-68AE-4307-9B5F-60512B429BF0}" dt="2022-03-24T14:20:36.422" v="9545" actId="478"/>
          <ac:picMkLst>
            <pc:docMk/>
            <pc:sldMk cId="3768827191" sldId="385"/>
            <ac:picMk id="39" creationId="{1EB57A1F-21C4-4213-BEDA-560D40FC252E}"/>
          </ac:picMkLst>
        </pc:picChg>
      </pc:sldChg>
      <pc:sldChg chg="addSp modSp add mod modClrScheme modAnim chgLayout">
        <pc:chgData name="Katerine Schifino" userId="37bb67de-9fcf-4611-888c-7e5b58184a2a" providerId="ADAL" clId="{D7BBC3CB-68AE-4307-9B5F-60512B429BF0}" dt="2022-03-23T13:50:08.840" v="1668" actId="20577"/>
        <pc:sldMkLst>
          <pc:docMk/>
          <pc:sldMk cId="2330264627" sldId="429"/>
        </pc:sldMkLst>
        <pc:spChg chg="add mod">
          <ac:chgData name="Katerine Schifino" userId="37bb67de-9fcf-4611-888c-7e5b58184a2a" providerId="ADAL" clId="{D7BBC3CB-68AE-4307-9B5F-60512B429BF0}" dt="2022-03-23T13:43:59.526" v="1363"/>
          <ac:spMkLst>
            <pc:docMk/>
            <pc:sldMk cId="2330264627" sldId="429"/>
            <ac:spMk id="3" creationId="{090084BA-2A63-465D-BFCD-4E3DA02262BC}"/>
          </ac:spMkLst>
        </pc:spChg>
        <pc:spChg chg="mod">
          <ac:chgData name="Katerine Schifino" userId="37bb67de-9fcf-4611-888c-7e5b58184a2a" providerId="ADAL" clId="{D7BBC3CB-68AE-4307-9B5F-60512B429BF0}" dt="2022-03-23T13:49:55.981" v="1649" actId="20577"/>
          <ac:spMkLst>
            <pc:docMk/>
            <pc:sldMk cId="2330264627" sldId="429"/>
            <ac:spMk id="4" creationId="{00000000-0000-0000-0000-000000000000}"/>
          </ac:spMkLst>
        </pc:spChg>
        <pc:spChg chg="add mod">
          <ac:chgData name="Katerine Schifino" userId="37bb67de-9fcf-4611-888c-7e5b58184a2a" providerId="ADAL" clId="{D7BBC3CB-68AE-4307-9B5F-60512B429BF0}" dt="2022-03-23T13:44:41.701" v="1381" actId="20577"/>
          <ac:spMkLst>
            <pc:docMk/>
            <pc:sldMk cId="2330264627" sldId="429"/>
            <ac:spMk id="5" creationId="{2BB80A47-9FEE-4BC1-9D79-434C3D794A57}"/>
          </ac:spMkLst>
        </pc:spChg>
        <pc:spChg chg="add mod">
          <ac:chgData name="Katerine Schifino" userId="37bb67de-9fcf-4611-888c-7e5b58184a2a" providerId="ADAL" clId="{D7BBC3CB-68AE-4307-9B5F-60512B429BF0}" dt="2022-03-23T13:50:08.840" v="1668" actId="20577"/>
          <ac:spMkLst>
            <pc:docMk/>
            <pc:sldMk cId="2330264627" sldId="429"/>
            <ac:spMk id="6" creationId="{8E8E45F7-F749-4099-8B58-F86D8C470828}"/>
          </ac:spMkLst>
        </pc:spChg>
      </pc:sldChg>
      <pc:sldChg chg="addSp delSp modSp mod chgLayout">
        <pc:chgData name="Katerine Schifino" userId="37bb67de-9fcf-4611-888c-7e5b58184a2a" providerId="ADAL" clId="{D7BBC3CB-68AE-4307-9B5F-60512B429BF0}" dt="2022-03-23T21:33:15.495" v="5612" actId="1076"/>
        <pc:sldMkLst>
          <pc:docMk/>
          <pc:sldMk cId="4072131230" sldId="2080108012"/>
        </pc:sldMkLst>
        <pc:spChg chg="mod">
          <ac:chgData name="Katerine Schifino" userId="37bb67de-9fcf-4611-888c-7e5b58184a2a" providerId="ADAL" clId="{D7BBC3CB-68AE-4307-9B5F-60512B429BF0}" dt="2022-03-23T21:32:28.765" v="5604" actId="207"/>
          <ac:spMkLst>
            <pc:docMk/>
            <pc:sldMk cId="4072131230" sldId="2080108012"/>
            <ac:spMk id="3" creationId="{FEA9F600-57E1-444E-9B65-D38B4F85ADE7}"/>
          </ac:spMkLst>
        </pc:spChg>
        <pc:picChg chg="add mod">
          <ac:chgData name="Katerine Schifino" userId="37bb67de-9fcf-4611-888c-7e5b58184a2a" providerId="ADAL" clId="{D7BBC3CB-68AE-4307-9B5F-60512B429BF0}" dt="2022-03-23T21:33:15.495" v="5612" actId="1076"/>
          <ac:picMkLst>
            <pc:docMk/>
            <pc:sldMk cId="4072131230" sldId="2080108012"/>
            <ac:picMk id="5" creationId="{04C3582A-2F7A-461C-A271-45CD787E8FA6}"/>
          </ac:picMkLst>
        </pc:picChg>
        <pc:picChg chg="del">
          <ac:chgData name="Katerine Schifino" userId="37bb67de-9fcf-4611-888c-7e5b58184a2a" providerId="ADAL" clId="{D7BBC3CB-68AE-4307-9B5F-60512B429BF0}" dt="2022-03-23T21:32:30.271" v="5605" actId="478"/>
          <ac:picMkLst>
            <pc:docMk/>
            <pc:sldMk cId="4072131230" sldId="2080108012"/>
            <ac:picMk id="8" creationId="{9FBE4C97-13A0-4A23-ABE2-CE9F038F9696}"/>
          </ac:picMkLst>
        </pc:picChg>
      </pc:sldChg>
      <pc:sldChg chg="add del mod chgLayout">
        <pc:chgData name="Katerine Schifino" userId="37bb67de-9fcf-4611-888c-7e5b58184a2a" providerId="ADAL" clId="{D7BBC3CB-68AE-4307-9B5F-60512B429BF0}" dt="2022-03-23T13:36:12.046" v="1139" actId="700"/>
        <pc:sldMkLst>
          <pc:docMk/>
          <pc:sldMk cId="2005008481" sldId="2080108014"/>
        </pc:sldMkLst>
      </pc:sldChg>
      <pc:sldChg chg="modSp mod">
        <pc:chgData name="Katerine Schifino" userId="37bb67de-9fcf-4611-888c-7e5b58184a2a" providerId="ADAL" clId="{D7BBC3CB-68AE-4307-9B5F-60512B429BF0}" dt="2022-03-23T21:32:36.938" v="5606" actId="1076"/>
        <pc:sldMkLst>
          <pc:docMk/>
          <pc:sldMk cId="3366330402" sldId="2080108015"/>
        </pc:sldMkLst>
        <pc:graphicFrameChg chg="mod modGraphic">
          <ac:chgData name="Katerine Schifino" userId="37bb67de-9fcf-4611-888c-7e5b58184a2a" providerId="ADAL" clId="{D7BBC3CB-68AE-4307-9B5F-60512B429BF0}" dt="2022-03-23T21:32:36.938" v="5606" actId="1076"/>
          <ac:graphicFrameMkLst>
            <pc:docMk/>
            <pc:sldMk cId="3366330402" sldId="2080108015"/>
            <ac:graphicFrameMk id="2" creationId="{DABEA71B-03AC-48AD-8E3A-F5B4F36922D0}"/>
          </ac:graphicFrameMkLst>
        </pc:graphicFrameChg>
      </pc:sldChg>
      <pc:sldChg chg="add del ord">
        <pc:chgData name="Katerine Schifino" userId="37bb67de-9fcf-4611-888c-7e5b58184a2a" providerId="ADAL" clId="{D7BBC3CB-68AE-4307-9B5F-60512B429BF0}" dt="2022-03-23T16:30:47.237" v="2477" actId="47"/>
        <pc:sldMkLst>
          <pc:docMk/>
          <pc:sldMk cId="2274449538" sldId="2142531828"/>
        </pc:sldMkLst>
      </pc:sldChg>
      <pc:sldChg chg="delSp add del mod modClrScheme chgLayout">
        <pc:chgData name="Katerine Schifino" userId="37bb67de-9fcf-4611-888c-7e5b58184a2a" providerId="ADAL" clId="{D7BBC3CB-68AE-4307-9B5F-60512B429BF0}" dt="2022-03-23T14:02:34.532" v="1676" actId="2696"/>
        <pc:sldMkLst>
          <pc:docMk/>
          <pc:sldMk cId="3907249047" sldId="2142531828"/>
        </pc:sldMkLst>
        <pc:spChg chg="del">
          <ac:chgData name="Katerine Schifino" userId="37bb67de-9fcf-4611-888c-7e5b58184a2a" providerId="ADAL" clId="{D7BBC3CB-68AE-4307-9B5F-60512B429BF0}" dt="2022-03-23T13:33:03.639" v="1131" actId="478"/>
          <ac:spMkLst>
            <pc:docMk/>
            <pc:sldMk cId="3907249047" sldId="2142531828"/>
            <ac:spMk id="4" creationId="{FF78692E-9C0D-465E-B678-A0EF6B4B3C58}"/>
          </ac:spMkLst>
        </pc:spChg>
        <pc:spChg chg="del">
          <ac:chgData name="Katerine Schifino" userId="37bb67de-9fcf-4611-888c-7e5b58184a2a" providerId="ADAL" clId="{D7BBC3CB-68AE-4307-9B5F-60512B429BF0}" dt="2022-03-23T13:33:03.639" v="1131" actId="478"/>
          <ac:spMkLst>
            <pc:docMk/>
            <pc:sldMk cId="3907249047" sldId="2142531828"/>
            <ac:spMk id="66" creationId="{B2A2290A-468E-4481-981F-F35326471B8B}"/>
          </ac:spMkLst>
        </pc:spChg>
        <pc:spChg chg="del">
          <ac:chgData name="Katerine Schifino" userId="37bb67de-9fcf-4611-888c-7e5b58184a2a" providerId="ADAL" clId="{D7BBC3CB-68AE-4307-9B5F-60512B429BF0}" dt="2022-03-23T13:33:03.639" v="1131" actId="478"/>
          <ac:spMkLst>
            <pc:docMk/>
            <pc:sldMk cId="3907249047" sldId="2142531828"/>
            <ac:spMk id="67" creationId="{0A913AD7-0B9B-4FFD-AE1D-5750E6F33A3F}"/>
          </ac:spMkLst>
        </pc:spChg>
        <pc:spChg chg="del">
          <ac:chgData name="Katerine Schifino" userId="37bb67de-9fcf-4611-888c-7e5b58184a2a" providerId="ADAL" clId="{D7BBC3CB-68AE-4307-9B5F-60512B429BF0}" dt="2022-03-23T13:33:01.491" v="1130" actId="478"/>
          <ac:spMkLst>
            <pc:docMk/>
            <pc:sldMk cId="3907249047" sldId="2142531828"/>
            <ac:spMk id="80" creationId="{4A18D18B-C6B5-4EE0-B5C5-07E4BFC447DD}"/>
          </ac:spMkLst>
        </pc:spChg>
        <pc:grpChg chg="del">
          <ac:chgData name="Katerine Schifino" userId="37bb67de-9fcf-4611-888c-7e5b58184a2a" providerId="ADAL" clId="{D7BBC3CB-68AE-4307-9B5F-60512B429BF0}" dt="2022-03-23T13:33:01.491" v="1130" actId="478"/>
          <ac:grpSpMkLst>
            <pc:docMk/>
            <pc:sldMk cId="3907249047" sldId="2142531828"/>
            <ac:grpSpMk id="5" creationId="{E8380912-0775-442E-BCCD-2AF47F8F0E88}"/>
          </ac:grpSpMkLst>
        </pc:grpChg>
        <pc:grpChg chg="del">
          <ac:chgData name="Katerine Schifino" userId="37bb67de-9fcf-4611-888c-7e5b58184a2a" providerId="ADAL" clId="{D7BBC3CB-68AE-4307-9B5F-60512B429BF0}" dt="2022-03-23T13:33:01.491" v="1130" actId="478"/>
          <ac:grpSpMkLst>
            <pc:docMk/>
            <pc:sldMk cId="3907249047" sldId="2142531828"/>
            <ac:grpSpMk id="6" creationId="{84C0EF26-1C98-4378-89CE-3320D92FC99D}"/>
          </ac:grpSpMkLst>
        </pc:grpChg>
        <pc:grpChg chg="del">
          <ac:chgData name="Katerine Schifino" userId="37bb67de-9fcf-4611-888c-7e5b58184a2a" providerId="ADAL" clId="{D7BBC3CB-68AE-4307-9B5F-60512B429BF0}" dt="2022-03-23T13:33:01.491" v="1130" actId="478"/>
          <ac:grpSpMkLst>
            <pc:docMk/>
            <pc:sldMk cId="3907249047" sldId="2142531828"/>
            <ac:grpSpMk id="7" creationId="{2F135A2B-F098-4329-97E4-44ECBA9DB2D8}"/>
          </ac:grpSpMkLst>
        </pc:grpChg>
        <pc:grpChg chg="del">
          <ac:chgData name="Katerine Schifino" userId="37bb67de-9fcf-4611-888c-7e5b58184a2a" providerId="ADAL" clId="{D7BBC3CB-68AE-4307-9B5F-60512B429BF0}" dt="2022-03-23T13:33:01.491" v="1130" actId="478"/>
          <ac:grpSpMkLst>
            <pc:docMk/>
            <pc:sldMk cId="3907249047" sldId="2142531828"/>
            <ac:grpSpMk id="10" creationId="{E999DE04-EE2E-4D21-AA36-AA5AE2C93815}"/>
          </ac:grpSpMkLst>
        </pc:grpChg>
        <pc:grpChg chg="del">
          <ac:chgData name="Katerine Schifino" userId="37bb67de-9fcf-4611-888c-7e5b58184a2a" providerId="ADAL" clId="{D7BBC3CB-68AE-4307-9B5F-60512B429BF0}" dt="2022-03-23T13:33:01.491" v="1130" actId="478"/>
          <ac:grpSpMkLst>
            <pc:docMk/>
            <pc:sldMk cId="3907249047" sldId="2142531828"/>
            <ac:grpSpMk id="11" creationId="{E6BCC223-8AF5-4247-A73A-AF3EBD105586}"/>
          </ac:grpSpMkLst>
        </pc:grpChg>
        <pc:grpChg chg="del">
          <ac:chgData name="Katerine Schifino" userId="37bb67de-9fcf-4611-888c-7e5b58184a2a" providerId="ADAL" clId="{D7BBC3CB-68AE-4307-9B5F-60512B429BF0}" dt="2022-03-23T13:33:01.491" v="1130" actId="478"/>
          <ac:grpSpMkLst>
            <pc:docMk/>
            <pc:sldMk cId="3907249047" sldId="2142531828"/>
            <ac:grpSpMk id="12" creationId="{FEB0C32F-AAB2-4395-A717-DB0E3AF4A102}"/>
          </ac:grpSpMkLst>
        </pc:grpChg>
      </pc:sldChg>
      <pc:sldChg chg="modSp add del mod">
        <pc:chgData name="Katerine Schifino" userId="37bb67de-9fcf-4611-888c-7e5b58184a2a" providerId="ADAL" clId="{D7BBC3CB-68AE-4307-9B5F-60512B429BF0}" dt="2022-03-23T20:58:35.849" v="4871" actId="47"/>
        <pc:sldMkLst>
          <pc:docMk/>
          <pc:sldMk cId="1145317515" sldId="2142531829"/>
        </pc:sldMkLst>
        <pc:spChg chg="mod">
          <ac:chgData name="Katerine Schifino" userId="37bb67de-9fcf-4611-888c-7e5b58184a2a" providerId="ADAL" clId="{D7BBC3CB-68AE-4307-9B5F-60512B429BF0}" dt="2022-03-23T20:50:27.905" v="4583"/>
          <ac:spMkLst>
            <pc:docMk/>
            <pc:sldMk cId="1145317515" sldId="2142531829"/>
            <ac:spMk id="179" creationId="{42B8673F-F437-4617-B55F-7C1B4F0E3198}"/>
          </ac:spMkLst>
        </pc:spChg>
        <pc:spChg chg="mod">
          <ac:chgData name="Katerine Schifino" userId="37bb67de-9fcf-4611-888c-7e5b58184a2a" providerId="ADAL" clId="{D7BBC3CB-68AE-4307-9B5F-60512B429BF0}" dt="2022-03-23T20:51:38.103" v="4594"/>
          <ac:spMkLst>
            <pc:docMk/>
            <pc:sldMk cId="1145317515" sldId="2142531829"/>
            <ac:spMk id="187" creationId="{C94881C4-27DC-43D8-BF3E-9075735DF6F7}"/>
          </ac:spMkLst>
        </pc:spChg>
        <pc:spChg chg="mod">
          <ac:chgData name="Katerine Schifino" userId="37bb67de-9fcf-4611-888c-7e5b58184a2a" providerId="ADAL" clId="{D7BBC3CB-68AE-4307-9B5F-60512B429BF0}" dt="2022-03-23T20:53:09.635" v="4685"/>
          <ac:spMkLst>
            <pc:docMk/>
            <pc:sldMk cId="1145317515" sldId="2142531829"/>
            <ac:spMk id="194" creationId="{16DE2A39-DD06-4227-BF2D-8C5F75015D84}"/>
          </ac:spMkLst>
        </pc:spChg>
        <pc:spChg chg="mod">
          <ac:chgData name="Katerine Schifino" userId="37bb67de-9fcf-4611-888c-7e5b58184a2a" providerId="ADAL" clId="{D7BBC3CB-68AE-4307-9B5F-60512B429BF0}" dt="2022-03-23T20:54:42.342" v="4715" actId="20577"/>
          <ac:spMkLst>
            <pc:docMk/>
            <pc:sldMk cId="1145317515" sldId="2142531829"/>
            <ac:spMk id="197" creationId="{AF0CC2AD-C47B-4D14-8F19-730EA7BF5CBA}"/>
          </ac:spMkLst>
        </pc:spChg>
        <pc:spChg chg="mod">
          <ac:chgData name="Katerine Schifino" userId="37bb67de-9fcf-4611-888c-7e5b58184a2a" providerId="ADAL" clId="{D7BBC3CB-68AE-4307-9B5F-60512B429BF0}" dt="2022-03-23T20:54:08.765" v="4702"/>
          <ac:spMkLst>
            <pc:docMk/>
            <pc:sldMk cId="1145317515" sldId="2142531829"/>
            <ac:spMk id="198" creationId="{3E114483-A300-46FF-BEDE-7C3B3B470ED4}"/>
          </ac:spMkLst>
        </pc:spChg>
      </pc:sldChg>
      <pc:sldChg chg="delSp add del mod modClrScheme chgLayout">
        <pc:chgData name="Katerine Schifino" userId="37bb67de-9fcf-4611-888c-7e5b58184a2a" providerId="ADAL" clId="{D7BBC3CB-68AE-4307-9B5F-60512B429BF0}" dt="2022-03-23T14:17:01.238" v="1706" actId="2696"/>
        <pc:sldMkLst>
          <pc:docMk/>
          <pc:sldMk cId="3012970584" sldId="2142531829"/>
        </pc:sldMkLst>
        <pc:spChg chg="del">
          <ac:chgData name="Katerine Schifino" userId="37bb67de-9fcf-4611-888c-7e5b58184a2a" providerId="ADAL" clId="{D7BBC3CB-68AE-4307-9B5F-60512B429BF0}" dt="2022-03-23T13:33:12.408" v="1133" actId="478"/>
          <ac:spMkLst>
            <pc:docMk/>
            <pc:sldMk cId="3012970584" sldId="2142531829"/>
            <ac:spMk id="78" creationId="{645F4566-9A80-41D3-BD1B-5D6F485D4E04}"/>
          </ac:spMkLst>
        </pc:spChg>
        <pc:spChg chg="del">
          <ac:chgData name="Katerine Schifino" userId="37bb67de-9fcf-4611-888c-7e5b58184a2a" providerId="ADAL" clId="{D7BBC3CB-68AE-4307-9B5F-60512B429BF0}" dt="2022-03-23T13:33:14.743" v="1134" actId="478"/>
          <ac:spMkLst>
            <pc:docMk/>
            <pc:sldMk cId="3012970584" sldId="2142531829"/>
            <ac:spMk id="94" creationId="{2405823B-EBF4-4FA4-A6AB-394ACE82071E}"/>
          </ac:spMkLst>
        </pc:spChg>
        <pc:spChg chg="del">
          <ac:chgData name="Katerine Schifino" userId="37bb67de-9fcf-4611-888c-7e5b58184a2a" providerId="ADAL" clId="{D7BBC3CB-68AE-4307-9B5F-60512B429BF0}" dt="2022-03-23T13:33:14.743" v="1134" actId="478"/>
          <ac:spMkLst>
            <pc:docMk/>
            <pc:sldMk cId="3012970584" sldId="2142531829"/>
            <ac:spMk id="95" creationId="{DD068CB6-BEE5-4C58-AADC-0219F5FF167B}"/>
          </ac:spMkLst>
        </pc:spChg>
        <pc:spChg chg="del">
          <ac:chgData name="Katerine Schifino" userId="37bb67de-9fcf-4611-888c-7e5b58184a2a" providerId="ADAL" clId="{D7BBC3CB-68AE-4307-9B5F-60512B429BF0}" dt="2022-03-23T13:33:14.743" v="1134" actId="478"/>
          <ac:spMkLst>
            <pc:docMk/>
            <pc:sldMk cId="3012970584" sldId="2142531829"/>
            <ac:spMk id="96" creationId="{DBDF43E9-DB30-4B17-8E43-B7CA8B290C26}"/>
          </ac:spMkLst>
        </pc:spChg>
        <pc:grpChg chg="del">
          <ac:chgData name="Katerine Schifino" userId="37bb67de-9fcf-4611-888c-7e5b58184a2a" providerId="ADAL" clId="{D7BBC3CB-68AE-4307-9B5F-60512B429BF0}" dt="2022-03-23T13:33:12.408" v="1133" actId="478"/>
          <ac:grpSpMkLst>
            <pc:docMk/>
            <pc:sldMk cId="3012970584" sldId="2142531829"/>
            <ac:grpSpMk id="75" creationId="{DCCE35A2-8C3E-4B37-9E4B-F22A3C5DBBCF}"/>
          </ac:grpSpMkLst>
        </pc:grpChg>
        <pc:grpChg chg="del">
          <ac:chgData name="Katerine Schifino" userId="37bb67de-9fcf-4611-888c-7e5b58184a2a" providerId="ADAL" clId="{D7BBC3CB-68AE-4307-9B5F-60512B429BF0}" dt="2022-03-23T13:33:12.408" v="1133" actId="478"/>
          <ac:grpSpMkLst>
            <pc:docMk/>
            <pc:sldMk cId="3012970584" sldId="2142531829"/>
            <ac:grpSpMk id="79" creationId="{681C12F9-1B98-47B5-85AA-47E6BD9462FE}"/>
          </ac:grpSpMkLst>
        </pc:grpChg>
        <pc:grpChg chg="del">
          <ac:chgData name="Katerine Schifino" userId="37bb67de-9fcf-4611-888c-7e5b58184a2a" providerId="ADAL" clId="{D7BBC3CB-68AE-4307-9B5F-60512B429BF0}" dt="2022-03-23T13:33:12.408" v="1133" actId="478"/>
          <ac:grpSpMkLst>
            <pc:docMk/>
            <pc:sldMk cId="3012970584" sldId="2142531829"/>
            <ac:grpSpMk id="82" creationId="{37DD9D17-5790-4679-90E4-7BBE8EFE2A19}"/>
          </ac:grpSpMkLst>
        </pc:grpChg>
        <pc:grpChg chg="del">
          <ac:chgData name="Katerine Schifino" userId="37bb67de-9fcf-4611-888c-7e5b58184a2a" providerId="ADAL" clId="{D7BBC3CB-68AE-4307-9B5F-60512B429BF0}" dt="2022-03-23T13:33:12.408" v="1133" actId="478"/>
          <ac:grpSpMkLst>
            <pc:docMk/>
            <pc:sldMk cId="3012970584" sldId="2142531829"/>
            <ac:grpSpMk id="85" creationId="{50284735-9658-4DA4-9ED9-E6CEC77DBCF7}"/>
          </ac:grpSpMkLst>
        </pc:grpChg>
        <pc:grpChg chg="del">
          <ac:chgData name="Katerine Schifino" userId="37bb67de-9fcf-4611-888c-7e5b58184a2a" providerId="ADAL" clId="{D7BBC3CB-68AE-4307-9B5F-60512B429BF0}" dt="2022-03-23T13:33:12.408" v="1133" actId="478"/>
          <ac:grpSpMkLst>
            <pc:docMk/>
            <pc:sldMk cId="3012970584" sldId="2142531829"/>
            <ac:grpSpMk id="88" creationId="{D4E8CC5A-B0BD-40F8-8313-23CBBEE3E867}"/>
          </ac:grpSpMkLst>
        </pc:grpChg>
        <pc:grpChg chg="del">
          <ac:chgData name="Katerine Schifino" userId="37bb67de-9fcf-4611-888c-7e5b58184a2a" providerId="ADAL" clId="{D7BBC3CB-68AE-4307-9B5F-60512B429BF0}" dt="2022-03-23T13:33:12.408" v="1133" actId="478"/>
          <ac:grpSpMkLst>
            <pc:docMk/>
            <pc:sldMk cId="3012970584" sldId="2142531829"/>
            <ac:grpSpMk id="91" creationId="{143289BB-11BB-4144-BEC9-519C85AE9A60}"/>
          </ac:grpSpMkLst>
        </pc:grpChg>
      </pc:sldChg>
      <pc:sldChg chg="delSp modSp add del mod modClrScheme chgLayout">
        <pc:chgData name="Katerine Schifino" userId="37bb67de-9fcf-4611-888c-7e5b58184a2a" providerId="ADAL" clId="{D7BBC3CB-68AE-4307-9B5F-60512B429BF0}" dt="2022-03-23T14:01:51.979" v="1675" actId="47"/>
        <pc:sldMkLst>
          <pc:docMk/>
          <pc:sldMk cId="544499331" sldId="2142531834"/>
        </pc:sldMkLst>
        <pc:spChg chg="mod">
          <ac:chgData name="Katerine Schifino" userId="37bb67de-9fcf-4611-888c-7e5b58184a2a" providerId="ADAL" clId="{D7BBC3CB-68AE-4307-9B5F-60512B429BF0}" dt="2022-03-23T13:31:54.758" v="1124" actId="1076"/>
          <ac:spMkLst>
            <pc:docMk/>
            <pc:sldMk cId="544499331" sldId="2142531834"/>
            <ac:spMk id="3" creationId="{2C8147C4-B16F-4EA9-8F05-F9E19F979428}"/>
          </ac:spMkLst>
        </pc:spChg>
        <pc:spChg chg="del">
          <ac:chgData name="Katerine Schifino" userId="37bb67de-9fcf-4611-888c-7e5b58184a2a" providerId="ADAL" clId="{D7BBC3CB-68AE-4307-9B5F-60512B429BF0}" dt="2022-03-23T13:31:39.891" v="1123" actId="478"/>
          <ac:spMkLst>
            <pc:docMk/>
            <pc:sldMk cId="544499331" sldId="2142531834"/>
            <ac:spMk id="4" creationId="{FF78692E-9C0D-465E-B678-A0EF6B4B3C58}"/>
          </ac:spMkLst>
        </pc:spChg>
        <pc:spChg chg="mod">
          <ac:chgData name="Katerine Schifino" userId="37bb67de-9fcf-4611-888c-7e5b58184a2a" providerId="ADAL" clId="{D7BBC3CB-68AE-4307-9B5F-60512B429BF0}" dt="2022-03-23T13:31:54.758" v="1124" actId="1076"/>
          <ac:spMkLst>
            <pc:docMk/>
            <pc:sldMk cId="544499331" sldId="2142531834"/>
            <ac:spMk id="46" creationId="{77217AC5-4B6C-4E44-929E-7A892E937DFD}"/>
          </ac:spMkLst>
        </pc:spChg>
        <pc:spChg chg="del">
          <ac:chgData name="Katerine Schifino" userId="37bb67de-9fcf-4611-888c-7e5b58184a2a" providerId="ADAL" clId="{D7BBC3CB-68AE-4307-9B5F-60512B429BF0}" dt="2022-03-23T13:31:39.891" v="1123" actId="478"/>
          <ac:spMkLst>
            <pc:docMk/>
            <pc:sldMk cId="544499331" sldId="2142531834"/>
            <ac:spMk id="66" creationId="{B2A2290A-468E-4481-981F-F35326471B8B}"/>
          </ac:spMkLst>
        </pc:spChg>
        <pc:spChg chg="del">
          <ac:chgData name="Katerine Schifino" userId="37bb67de-9fcf-4611-888c-7e5b58184a2a" providerId="ADAL" clId="{D7BBC3CB-68AE-4307-9B5F-60512B429BF0}" dt="2022-03-23T13:31:39.891" v="1123" actId="478"/>
          <ac:spMkLst>
            <pc:docMk/>
            <pc:sldMk cId="544499331" sldId="2142531834"/>
            <ac:spMk id="67" creationId="{0A913AD7-0B9B-4FFD-AE1D-5750E6F33A3F}"/>
          </ac:spMkLst>
        </pc:spChg>
        <pc:spChg chg="del">
          <ac:chgData name="Katerine Schifino" userId="37bb67de-9fcf-4611-888c-7e5b58184a2a" providerId="ADAL" clId="{D7BBC3CB-68AE-4307-9B5F-60512B429BF0}" dt="2022-03-23T13:31:37.061" v="1122" actId="478"/>
          <ac:spMkLst>
            <pc:docMk/>
            <pc:sldMk cId="544499331" sldId="2142531834"/>
            <ac:spMk id="80" creationId="{4A18D18B-C6B5-4EE0-B5C5-07E4BFC447DD}"/>
          </ac:spMkLst>
        </pc:spChg>
        <pc:spChg chg="mod">
          <ac:chgData name="Katerine Schifino" userId="37bb67de-9fcf-4611-888c-7e5b58184a2a" providerId="ADAL" clId="{D7BBC3CB-68AE-4307-9B5F-60512B429BF0}" dt="2022-03-23T13:31:54.758" v="1124" actId="1076"/>
          <ac:spMkLst>
            <pc:docMk/>
            <pc:sldMk cId="544499331" sldId="2142531834"/>
            <ac:spMk id="87" creationId="{91A4CBC8-56FB-455C-B68B-F882B16862C3}"/>
          </ac:spMkLst>
        </pc:spChg>
        <pc:spChg chg="mod">
          <ac:chgData name="Katerine Schifino" userId="37bb67de-9fcf-4611-888c-7e5b58184a2a" providerId="ADAL" clId="{D7BBC3CB-68AE-4307-9B5F-60512B429BF0}" dt="2022-03-23T13:31:54.758" v="1124" actId="1076"/>
          <ac:spMkLst>
            <pc:docMk/>
            <pc:sldMk cId="544499331" sldId="2142531834"/>
            <ac:spMk id="105" creationId="{57F722F7-7ABF-4AED-8BF9-7C80FF8F5E82}"/>
          </ac:spMkLst>
        </pc:spChg>
        <pc:spChg chg="mod">
          <ac:chgData name="Katerine Schifino" userId="37bb67de-9fcf-4611-888c-7e5b58184a2a" providerId="ADAL" clId="{D7BBC3CB-68AE-4307-9B5F-60512B429BF0}" dt="2022-03-23T13:31:54.758" v="1124" actId="1076"/>
          <ac:spMkLst>
            <pc:docMk/>
            <pc:sldMk cId="544499331" sldId="2142531834"/>
            <ac:spMk id="107" creationId="{1D9AD282-7938-4D70-99C9-505D5E8246F2}"/>
          </ac:spMkLst>
        </pc:spChg>
        <pc:spChg chg="mod">
          <ac:chgData name="Katerine Schifino" userId="37bb67de-9fcf-4611-888c-7e5b58184a2a" providerId="ADAL" clId="{D7BBC3CB-68AE-4307-9B5F-60512B429BF0}" dt="2022-03-23T13:31:54.758" v="1124" actId="1076"/>
          <ac:spMkLst>
            <pc:docMk/>
            <pc:sldMk cId="544499331" sldId="2142531834"/>
            <ac:spMk id="115" creationId="{825E0B2A-71CA-443F-B0E8-5CA32CA15619}"/>
          </ac:spMkLst>
        </pc:spChg>
        <pc:spChg chg="mod">
          <ac:chgData name="Katerine Schifino" userId="37bb67de-9fcf-4611-888c-7e5b58184a2a" providerId="ADAL" clId="{D7BBC3CB-68AE-4307-9B5F-60512B429BF0}" dt="2022-03-23T13:31:54.758" v="1124" actId="1076"/>
          <ac:spMkLst>
            <pc:docMk/>
            <pc:sldMk cId="544499331" sldId="2142531834"/>
            <ac:spMk id="117" creationId="{3497A318-A5E3-4C70-AA3B-592F2920A4B3}"/>
          </ac:spMkLst>
        </pc:spChg>
        <pc:spChg chg="mod">
          <ac:chgData name="Katerine Schifino" userId="37bb67de-9fcf-4611-888c-7e5b58184a2a" providerId="ADAL" clId="{D7BBC3CB-68AE-4307-9B5F-60512B429BF0}" dt="2022-03-23T13:31:54.758" v="1124" actId="1076"/>
          <ac:spMkLst>
            <pc:docMk/>
            <pc:sldMk cId="544499331" sldId="2142531834"/>
            <ac:spMk id="121" creationId="{E8B2302E-CDCF-454A-9FAC-6B3556C12CEF}"/>
          </ac:spMkLst>
        </pc:spChg>
        <pc:spChg chg="mod">
          <ac:chgData name="Katerine Schifino" userId="37bb67de-9fcf-4611-888c-7e5b58184a2a" providerId="ADAL" clId="{D7BBC3CB-68AE-4307-9B5F-60512B429BF0}" dt="2022-03-23T13:31:54.758" v="1124" actId="1076"/>
          <ac:spMkLst>
            <pc:docMk/>
            <pc:sldMk cId="544499331" sldId="2142531834"/>
            <ac:spMk id="122" creationId="{7356F36D-0353-41AE-815F-86545EA711A1}"/>
          </ac:spMkLst>
        </pc:spChg>
        <pc:spChg chg="mod">
          <ac:chgData name="Katerine Schifino" userId="37bb67de-9fcf-4611-888c-7e5b58184a2a" providerId="ADAL" clId="{D7BBC3CB-68AE-4307-9B5F-60512B429BF0}" dt="2022-03-23T13:31:54.758" v="1124" actId="1076"/>
          <ac:spMkLst>
            <pc:docMk/>
            <pc:sldMk cId="544499331" sldId="2142531834"/>
            <ac:spMk id="125" creationId="{D54459B7-7996-4F5C-944D-8AD9072BFF7C}"/>
          </ac:spMkLst>
        </pc:spChg>
        <pc:spChg chg="mod">
          <ac:chgData name="Katerine Schifino" userId="37bb67de-9fcf-4611-888c-7e5b58184a2a" providerId="ADAL" clId="{D7BBC3CB-68AE-4307-9B5F-60512B429BF0}" dt="2022-03-23T13:31:54.758" v="1124" actId="1076"/>
          <ac:spMkLst>
            <pc:docMk/>
            <pc:sldMk cId="544499331" sldId="2142531834"/>
            <ac:spMk id="126" creationId="{9FD5D4E0-8C4D-4729-8F53-B76C0C842784}"/>
          </ac:spMkLst>
        </pc:spChg>
        <pc:grpChg chg="del">
          <ac:chgData name="Katerine Schifino" userId="37bb67de-9fcf-4611-888c-7e5b58184a2a" providerId="ADAL" clId="{D7BBC3CB-68AE-4307-9B5F-60512B429BF0}" dt="2022-03-23T13:31:37.061" v="1122" actId="478"/>
          <ac:grpSpMkLst>
            <pc:docMk/>
            <pc:sldMk cId="544499331" sldId="2142531834"/>
            <ac:grpSpMk id="5" creationId="{E8380912-0775-442E-BCCD-2AF47F8F0E88}"/>
          </ac:grpSpMkLst>
        </pc:grpChg>
        <pc:grpChg chg="del">
          <ac:chgData name="Katerine Schifino" userId="37bb67de-9fcf-4611-888c-7e5b58184a2a" providerId="ADAL" clId="{D7BBC3CB-68AE-4307-9B5F-60512B429BF0}" dt="2022-03-23T13:31:37.061" v="1122" actId="478"/>
          <ac:grpSpMkLst>
            <pc:docMk/>
            <pc:sldMk cId="544499331" sldId="2142531834"/>
            <ac:grpSpMk id="6" creationId="{84C0EF26-1C98-4378-89CE-3320D92FC99D}"/>
          </ac:grpSpMkLst>
        </pc:grpChg>
        <pc:grpChg chg="del">
          <ac:chgData name="Katerine Schifino" userId="37bb67de-9fcf-4611-888c-7e5b58184a2a" providerId="ADAL" clId="{D7BBC3CB-68AE-4307-9B5F-60512B429BF0}" dt="2022-03-23T13:31:37.061" v="1122" actId="478"/>
          <ac:grpSpMkLst>
            <pc:docMk/>
            <pc:sldMk cId="544499331" sldId="2142531834"/>
            <ac:grpSpMk id="7" creationId="{2F135A2B-F098-4329-97E4-44ECBA9DB2D8}"/>
          </ac:grpSpMkLst>
        </pc:grpChg>
        <pc:grpChg chg="mod">
          <ac:chgData name="Katerine Schifino" userId="37bb67de-9fcf-4611-888c-7e5b58184a2a" providerId="ADAL" clId="{D7BBC3CB-68AE-4307-9B5F-60512B429BF0}" dt="2022-03-23T13:31:54.758" v="1124" actId="1076"/>
          <ac:grpSpMkLst>
            <pc:docMk/>
            <pc:sldMk cId="544499331" sldId="2142531834"/>
            <ac:grpSpMk id="8" creationId="{1B5BD8F5-F7DC-41D7-A74F-31A4C0748F42}"/>
          </ac:grpSpMkLst>
        </pc:grpChg>
        <pc:grpChg chg="del">
          <ac:chgData name="Katerine Schifino" userId="37bb67de-9fcf-4611-888c-7e5b58184a2a" providerId="ADAL" clId="{D7BBC3CB-68AE-4307-9B5F-60512B429BF0}" dt="2022-03-23T13:31:37.061" v="1122" actId="478"/>
          <ac:grpSpMkLst>
            <pc:docMk/>
            <pc:sldMk cId="544499331" sldId="2142531834"/>
            <ac:grpSpMk id="10" creationId="{E999DE04-EE2E-4D21-AA36-AA5AE2C93815}"/>
          </ac:grpSpMkLst>
        </pc:grpChg>
        <pc:grpChg chg="del">
          <ac:chgData name="Katerine Schifino" userId="37bb67de-9fcf-4611-888c-7e5b58184a2a" providerId="ADAL" clId="{D7BBC3CB-68AE-4307-9B5F-60512B429BF0}" dt="2022-03-23T13:31:37.061" v="1122" actId="478"/>
          <ac:grpSpMkLst>
            <pc:docMk/>
            <pc:sldMk cId="544499331" sldId="2142531834"/>
            <ac:grpSpMk id="11" creationId="{E6BCC223-8AF5-4247-A73A-AF3EBD105586}"/>
          </ac:grpSpMkLst>
        </pc:grpChg>
        <pc:grpChg chg="del">
          <ac:chgData name="Katerine Schifino" userId="37bb67de-9fcf-4611-888c-7e5b58184a2a" providerId="ADAL" clId="{D7BBC3CB-68AE-4307-9B5F-60512B429BF0}" dt="2022-03-23T13:31:37.061" v="1122" actId="478"/>
          <ac:grpSpMkLst>
            <pc:docMk/>
            <pc:sldMk cId="544499331" sldId="2142531834"/>
            <ac:grpSpMk id="12" creationId="{FEB0C32F-AAB2-4395-A717-DB0E3AF4A102}"/>
          </ac:grpSpMkLst>
        </pc:grpChg>
        <pc:cxnChg chg="del">
          <ac:chgData name="Katerine Schifino" userId="37bb67de-9fcf-4611-888c-7e5b58184a2a" providerId="ADAL" clId="{D7BBC3CB-68AE-4307-9B5F-60512B429BF0}" dt="2022-03-23T13:31:39.891" v="1123" actId="478"/>
          <ac:cxnSpMkLst>
            <pc:docMk/>
            <pc:sldMk cId="544499331" sldId="2142531834"/>
            <ac:cxnSpMk id="88" creationId="{9BDDCFDA-0979-4865-BC55-1E18EAFF4777}"/>
          </ac:cxnSpMkLst>
        </pc:cxnChg>
        <pc:cxnChg chg="mod">
          <ac:chgData name="Katerine Schifino" userId="37bb67de-9fcf-4611-888c-7e5b58184a2a" providerId="ADAL" clId="{D7BBC3CB-68AE-4307-9B5F-60512B429BF0}" dt="2022-03-23T13:31:54.758" v="1124" actId="1076"/>
          <ac:cxnSpMkLst>
            <pc:docMk/>
            <pc:sldMk cId="544499331" sldId="2142531834"/>
            <ac:cxnSpMk id="89" creationId="{7AC1DEAB-EE37-44E9-A080-A816DFC90A3E}"/>
          </ac:cxnSpMkLst>
        </pc:cxnChg>
      </pc:sldChg>
      <pc:sldChg chg="delSp modSp add del mod ord modClrScheme chgLayout">
        <pc:chgData name="Katerine Schifino" userId="37bb67de-9fcf-4611-888c-7e5b58184a2a" providerId="ADAL" clId="{D7BBC3CB-68AE-4307-9B5F-60512B429BF0}" dt="2022-03-23T20:43:07.984" v="4360" actId="47"/>
        <pc:sldMkLst>
          <pc:docMk/>
          <pc:sldMk cId="4241153634" sldId="2142531835"/>
        </pc:sldMkLst>
        <pc:spChg chg="mod">
          <ac:chgData name="Katerine Schifino" userId="37bb67de-9fcf-4611-888c-7e5b58184a2a" providerId="ADAL" clId="{D7BBC3CB-68AE-4307-9B5F-60512B429BF0}" dt="2022-03-23T20:42:31.519" v="4321" actId="1076"/>
          <ac:spMkLst>
            <pc:docMk/>
            <pc:sldMk cId="4241153634" sldId="2142531835"/>
            <ac:spMk id="2" creationId="{BCF0D6BF-CEAB-434E-AB0E-FCC04F0C7960}"/>
          </ac:spMkLst>
        </pc:spChg>
        <pc:spChg chg="del">
          <ac:chgData name="Katerine Schifino" userId="37bb67de-9fcf-4611-888c-7e5b58184a2a" providerId="ADAL" clId="{D7BBC3CB-68AE-4307-9B5F-60512B429BF0}" dt="2022-03-23T13:31:59.560" v="1125" actId="478"/>
          <ac:spMkLst>
            <pc:docMk/>
            <pc:sldMk cId="4241153634" sldId="2142531835"/>
            <ac:spMk id="78" creationId="{5BF2E2C4-804B-406F-AED2-63EE1573EA48}"/>
          </ac:spMkLst>
        </pc:spChg>
        <pc:spChg chg="del">
          <ac:chgData name="Katerine Schifino" userId="37bb67de-9fcf-4611-888c-7e5b58184a2a" providerId="ADAL" clId="{D7BBC3CB-68AE-4307-9B5F-60512B429BF0}" dt="2022-03-23T13:32:02.772" v="1126" actId="478"/>
          <ac:spMkLst>
            <pc:docMk/>
            <pc:sldMk cId="4241153634" sldId="2142531835"/>
            <ac:spMk id="94" creationId="{2405823B-EBF4-4FA4-A6AB-394ACE82071E}"/>
          </ac:spMkLst>
        </pc:spChg>
        <pc:spChg chg="del">
          <ac:chgData name="Katerine Schifino" userId="37bb67de-9fcf-4611-888c-7e5b58184a2a" providerId="ADAL" clId="{D7BBC3CB-68AE-4307-9B5F-60512B429BF0}" dt="2022-03-23T13:32:02.772" v="1126" actId="478"/>
          <ac:spMkLst>
            <pc:docMk/>
            <pc:sldMk cId="4241153634" sldId="2142531835"/>
            <ac:spMk id="95" creationId="{DD068CB6-BEE5-4C58-AADC-0219F5FF167B}"/>
          </ac:spMkLst>
        </pc:spChg>
        <pc:spChg chg="del">
          <ac:chgData name="Katerine Schifino" userId="37bb67de-9fcf-4611-888c-7e5b58184a2a" providerId="ADAL" clId="{D7BBC3CB-68AE-4307-9B5F-60512B429BF0}" dt="2022-03-23T13:32:02.772" v="1126" actId="478"/>
          <ac:spMkLst>
            <pc:docMk/>
            <pc:sldMk cId="4241153634" sldId="2142531835"/>
            <ac:spMk id="96" creationId="{DBDF43E9-DB30-4B17-8E43-B7CA8B290C26}"/>
          </ac:spMkLst>
        </pc:spChg>
        <pc:spChg chg="mod">
          <ac:chgData name="Katerine Schifino" userId="37bb67de-9fcf-4611-888c-7e5b58184a2a" providerId="ADAL" clId="{D7BBC3CB-68AE-4307-9B5F-60512B429BF0}" dt="2022-03-23T13:32:16.708" v="1128" actId="1076"/>
          <ac:spMkLst>
            <pc:docMk/>
            <pc:sldMk cId="4241153634" sldId="2142531835"/>
            <ac:spMk id="110" creationId="{49E485B1-952F-4102-BC37-65B124D8CEA2}"/>
          </ac:spMkLst>
        </pc:spChg>
        <pc:spChg chg="mod">
          <ac:chgData name="Katerine Schifino" userId="37bb67de-9fcf-4611-888c-7e5b58184a2a" providerId="ADAL" clId="{D7BBC3CB-68AE-4307-9B5F-60512B429BF0}" dt="2022-03-23T13:32:16.708" v="1128" actId="1076"/>
          <ac:spMkLst>
            <pc:docMk/>
            <pc:sldMk cId="4241153634" sldId="2142531835"/>
            <ac:spMk id="111" creationId="{4C91B9CF-4341-4E11-A414-F4430D647F37}"/>
          </ac:spMkLst>
        </pc:spChg>
        <pc:spChg chg="mod">
          <ac:chgData name="Katerine Schifino" userId="37bb67de-9fcf-4611-888c-7e5b58184a2a" providerId="ADAL" clId="{D7BBC3CB-68AE-4307-9B5F-60512B429BF0}" dt="2022-03-23T13:32:16.708" v="1128" actId="1076"/>
          <ac:spMkLst>
            <pc:docMk/>
            <pc:sldMk cId="4241153634" sldId="2142531835"/>
            <ac:spMk id="207" creationId="{62E8F967-33A5-4301-AF8C-8D7BB8FB6CFA}"/>
          </ac:spMkLst>
        </pc:spChg>
        <pc:spChg chg="mod">
          <ac:chgData name="Katerine Schifino" userId="37bb67de-9fcf-4611-888c-7e5b58184a2a" providerId="ADAL" clId="{D7BBC3CB-68AE-4307-9B5F-60512B429BF0}" dt="2022-03-23T13:32:16.708" v="1128" actId="1076"/>
          <ac:spMkLst>
            <pc:docMk/>
            <pc:sldMk cId="4241153634" sldId="2142531835"/>
            <ac:spMk id="209" creationId="{15CB7A51-A970-4BBE-ADF9-64F6A1A8CB77}"/>
          </ac:spMkLst>
        </pc:spChg>
        <pc:spChg chg="mod">
          <ac:chgData name="Katerine Schifino" userId="37bb67de-9fcf-4611-888c-7e5b58184a2a" providerId="ADAL" clId="{D7BBC3CB-68AE-4307-9B5F-60512B429BF0}" dt="2022-03-23T13:32:16.708" v="1128" actId="1076"/>
          <ac:spMkLst>
            <pc:docMk/>
            <pc:sldMk cId="4241153634" sldId="2142531835"/>
            <ac:spMk id="210" creationId="{67C392D9-694E-4EA9-BD36-DC94CC0C76A3}"/>
          </ac:spMkLst>
        </pc:spChg>
        <pc:spChg chg="mod">
          <ac:chgData name="Katerine Schifino" userId="37bb67de-9fcf-4611-888c-7e5b58184a2a" providerId="ADAL" clId="{D7BBC3CB-68AE-4307-9B5F-60512B429BF0}" dt="2022-03-23T13:32:16.708" v="1128" actId="1076"/>
          <ac:spMkLst>
            <pc:docMk/>
            <pc:sldMk cId="4241153634" sldId="2142531835"/>
            <ac:spMk id="212" creationId="{7080518C-3E9D-4840-9BF6-714D43A99C64}"/>
          </ac:spMkLst>
        </pc:spChg>
        <pc:spChg chg="mod">
          <ac:chgData name="Katerine Schifino" userId="37bb67de-9fcf-4611-888c-7e5b58184a2a" providerId="ADAL" clId="{D7BBC3CB-68AE-4307-9B5F-60512B429BF0}" dt="2022-03-23T13:32:16.708" v="1128" actId="1076"/>
          <ac:spMkLst>
            <pc:docMk/>
            <pc:sldMk cId="4241153634" sldId="2142531835"/>
            <ac:spMk id="255" creationId="{55865BED-B86F-49AE-9FB0-08E1F54F1F13}"/>
          </ac:spMkLst>
        </pc:spChg>
        <pc:spChg chg="mod">
          <ac:chgData name="Katerine Schifino" userId="37bb67de-9fcf-4611-888c-7e5b58184a2a" providerId="ADAL" clId="{D7BBC3CB-68AE-4307-9B5F-60512B429BF0}" dt="2022-03-23T13:32:16.708" v="1128" actId="1076"/>
          <ac:spMkLst>
            <pc:docMk/>
            <pc:sldMk cId="4241153634" sldId="2142531835"/>
            <ac:spMk id="256" creationId="{CB75376E-16F6-4C0C-A061-DA09B2444C89}"/>
          </ac:spMkLst>
        </pc:spChg>
        <pc:grpChg chg="mod">
          <ac:chgData name="Katerine Schifino" userId="37bb67de-9fcf-4611-888c-7e5b58184a2a" providerId="ADAL" clId="{D7BBC3CB-68AE-4307-9B5F-60512B429BF0}" dt="2022-03-23T20:42:31.519" v="4321" actId="1076"/>
          <ac:grpSpMkLst>
            <pc:docMk/>
            <pc:sldMk cId="4241153634" sldId="2142531835"/>
            <ac:grpSpMk id="11" creationId="{32ACA7DA-22CD-4C72-BA83-188B74483F97}"/>
          </ac:grpSpMkLst>
        </pc:grpChg>
        <pc:grpChg chg="mod">
          <ac:chgData name="Katerine Schifino" userId="37bb67de-9fcf-4611-888c-7e5b58184a2a" providerId="ADAL" clId="{D7BBC3CB-68AE-4307-9B5F-60512B429BF0}" dt="2022-03-23T13:32:16.708" v="1128" actId="1076"/>
          <ac:grpSpMkLst>
            <pc:docMk/>
            <pc:sldMk cId="4241153634" sldId="2142531835"/>
            <ac:grpSpMk id="12" creationId="{DD4054E1-96DB-4DF0-8974-1F84FCD097C3}"/>
          </ac:grpSpMkLst>
        </pc:grpChg>
        <pc:grpChg chg="mod">
          <ac:chgData name="Katerine Schifino" userId="37bb67de-9fcf-4611-888c-7e5b58184a2a" providerId="ADAL" clId="{D7BBC3CB-68AE-4307-9B5F-60512B429BF0}" dt="2022-03-23T13:32:16.708" v="1128" actId="1076"/>
          <ac:grpSpMkLst>
            <pc:docMk/>
            <pc:sldMk cId="4241153634" sldId="2142531835"/>
            <ac:grpSpMk id="14" creationId="{89A7837C-91AC-47E0-B7E1-A5D0AF6ADDD3}"/>
          </ac:grpSpMkLst>
        </pc:grpChg>
        <pc:grpChg chg="mod">
          <ac:chgData name="Katerine Schifino" userId="37bb67de-9fcf-4611-888c-7e5b58184a2a" providerId="ADAL" clId="{D7BBC3CB-68AE-4307-9B5F-60512B429BF0}" dt="2022-03-23T13:32:16.708" v="1128" actId="1076"/>
          <ac:grpSpMkLst>
            <pc:docMk/>
            <pc:sldMk cId="4241153634" sldId="2142531835"/>
            <ac:grpSpMk id="15" creationId="{612F224D-F4F1-430C-9208-C349EB7B236A}"/>
          </ac:grpSpMkLst>
        </pc:grpChg>
        <pc:grpChg chg="mod">
          <ac:chgData name="Katerine Schifino" userId="37bb67de-9fcf-4611-888c-7e5b58184a2a" providerId="ADAL" clId="{D7BBC3CB-68AE-4307-9B5F-60512B429BF0}" dt="2022-03-23T13:32:16.708" v="1128" actId="1076"/>
          <ac:grpSpMkLst>
            <pc:docMk/>
            <pc:sldMk cId="4241153634" sldId="2142531835"/>
            <ac:grpSpMk id="16" creationId="{0A25FF44-2003-4778-981B-CA4B5192070F}"/>
          </ac:grpSpMkLst>
        </pc:grpChg>
        <pc:grpChg chg="mod">
          <ac:chgData name="Katerine Schifino" userId="37bb67de-9fcf-4611-888c-7e5b58184a2a" providerId="ADAL" clId="{D7BBC3CB-68AE-4307-9B5F-60512B429BF0}" dt="2022-03-23T13:32:16.708" v="1128" actId="1076"/>
          <ac:grpSpMkLst>
            <pc:docMk/>
            <pc:sldMk cId="4241153634" sldId="2142531835"/>
            <ac:grpSpMk id="18" creationId="{3C27FC32-8414-4FBF-ADF8-32CB26E76045}"/>
          </ac:grpSpMkLst>
        </pc:grpChg>
        <pc:grpChg chg="del">
          <ac:chgData name="Katerine Schifino" userId="37bb67de-9fcf-4611-888c-7e5b58184a2a" providerId="ADAL" clId="{D7BBC3CB-68AE-4307-9B5F-60512B429BF0}" dt="2022-03-23T13:31:59.560" v="1125" actId="478"/>
          <ac:grpSpMkLst>
            <pc:docMk/>
            <pc:sldMk cId="4241153634" sldId="2142531835"/>
            <ac:grpSpMk id="75" creationId="{7F6D533C-5402-46F3-95FD-E1D651D35784}"/>
          </ac:grpSpMkLst>
        </pc:grpChg>
        <pc:grpChg chg="del">
          <ac:chgData name="Katerine Schifino" userId="37bb67de-9fcf-4611-888c-7e5b58184a2a" providerId="ADAL" clId="{D7BBC3CB-68AE-4307-9B5F-60512B429BF0}" dt="2022-03-23T13:31:59.560" v="1125" actId="478"/>
          <ac:grpSpMkLst>
            <pc:docMk/>
            <pc:sldMk cId="4241153634" sldId="2142531835"/>
            <ac:grpSpMk id="79" creationId="{28855396-B695-4C85-80A0-BDD5DAD5DD1D}"/>
          </ac:grpSpMkLst>
        </pc:grpChg>
        <pc:grpChg chg="del">
          <ac:chgData name="Katerine Schifino" userId="37bb67de-9fcf-4611-888c-7e5b58184a2a" providerId="ADAL" clId="{D7BBC3CB-68AE-4307-9B5F-60512B429BF0}" dt="2022-03-23T13:31:59.560" v="1125" actId="478"/>
          <ac:grpSpMkLst>
            <pc:docMk/>
            <pc:sldMk cId="4241153634" sldId="2142531835"/>
            <ac:grpSpMk id="82" creationId="{67501AB9-CEEE-4500-AD5F-BA23650C6CEE}"/>
          </ac:grpSpMkLst>
        </pc:grpChg>
        <pc:grpChg chg="del">
          <ac:chgData name="Katerine Schifino" userId="37bb67de-9fcf-4611-888c-7e5b58184a2a" providerId="ADAL" clId="{D7BBC3CB-68AE-4307-9B5F-60512B429BF0}" dt="2022-03-23T13:31:59.560" v="1125" actId="478"/>
          <ac:grpSpMkLst>
            <pc:docMk/>
            <pc:sldMk cId="4241153634" sldId="2142531835"/>
            <ac:grpSpMk id="85" creationId="{F01FA985-6787-44C6-8AAF-DE111900F5D5}"/>
          </ac:grpSpMkLst>
        </pc:grpChg>
        <pc:grpChg chg="del">
          <ac:chgData name="Katerine Schifino" userId="37bb67de-9fcf-4611-888c-7e5b58184a2a" providerId="ADAL" clId="{D7BBC3CB-68AE-4307-9B5F-60512B429BF0}" dt="2022-03-23T13:31:59.560" v="1125" actId="478"/>
          <ac:grpSpMkLst>
            <pc:docMk/>
            <pc:sldMk cId="4241153634" sldId="2142531835"/>
            <ac:grpSpMk id="88" creationId="{07E9BCEB-EDA2-4BC0-B9F5-A96B591BC525}"/>
          </ac:grpSpMkLst>
        </pc:grpChg>
        <pc:grpChg chg="del">
          <ac:chgData name="Katerine Schifino" userId="37bb67de-9fcf-4611-888c-7e5b58184a2a" providerId="ADAL" clId="{D7BBC3CB-68AE-4307-9B5F-60512B429BF0}" dt="2022-03-23T13:31:59.560" v="1125" actId="478"/>
          <ac:grpSpMkLst>
            <pc:docMk/>
            <pc:sldMk cId="4241153634" sldId="2142531835"/>
            <ac:grpSpMk id="91" creationId="{1BEA47BE-588B-4BA1-B2C3-9B62D0664C7D}"/>
          </ac:grpSpMkLst>
        </pc:grpChg>
        <pc:cxnChg chg="mod">
          <ac:chgData name="Katerine Schifino" userId="37bb67de-9fcf-4611-888c-7e5b58184a2a" providerId="ADAL" clId="{D7BBC3CB-68AE-4307-9B5F-60512B429BF0}" dt="2022-03-23T13:32:16.708" v="1128" actId="1076"/>
          <ac:cxnSpMkLst>
            <pc:docMk/>
            <pc:sldMk cId="4241153634" sldId="2142531835"/>
            <ac:cxnSpMk id="112" creationId="{9F6B42E1-7F45-4ACB-B035-1027E777D492}"/>
          </ac:cxnSpMkLst>
        </pc:cxnChg>
        <pc:cxnChg chg="mod">
          <ac:chgData name="Katerine Schifino" userId="37bb67de-9fcf-4611-888c-7e5b58184a2a" providerId="ADAL" clId="{D7BBC3CB-68AE-4307-9B5F-60512B429BF0}" dt="2022-03-23T13:32:16.708" v="1128" actId="1076"/>
          <ac:cxnSpMkLst>
            <pc:docMk/>
            <pc:sldMk cId="4241153634" sldId="2142531835"/>
            <ac:cxnSpMk id="113" creationId="{E0021D4B-AF07-4821-BA73-EDBB70E331A1}"/>
          </ac:cxnSpMkLst>
        </pc:cxnChg>
      </pc:sldChg>
      <pc:sldChg chg="del">
        <pc:chgData name="Katerine Schifino" userId="37bb67de-9fcf-4611-888c-7e5b58184a2a" providerId="ADAL" clId="{D7BBC3CB-68AE-4307-9B5F-60512B429BF0}" dt="2022-03-22T19:32:40.737" v="324" actId="47"/>
        <pc:sldMkLst>
          <pc:docMk/>
          <pc:sldMk cId="712470240" sldId="2146846073"/>
        </pc:sldMkLst>
      </pc:sldChg>
      <pc:sldChg chg="del">
        <pc:chgData name="Katerine Schifino" userId="37bb67de-9fcf-4611-888c-7e5b58184a2a" providerId="ADAL" clId="{D7BBC3CB-68AE-4307-9B5F-60512B429BF0}" dt="2022-03-22T19:32:43.136" v="334" actId="47"/>
        <pc:sldMkLst>
          <pc:docMk/>
          <pc:sldMk cId="2751092167" sldId="2146846099"/>
        </pc:sldMkLst>
      </pc:sldChg>
      <pc:sldChg chg="del">
        <pc:chgData name="Katerine Schifino" userId="37bb67de-9fcf-4611-888c-7e5b58184a2a" providerId="ADAL" clId="{D7BBC3CB-68AE-4307-9B5F-60512B429BF0}" dt="2022-03-22T19:32:41.498" v="326" actId="47"/>
        <pc:sldMkLst>
          <pc:docMk/>
          <pc:sldMk cId="2262069821" sldId="2146846100"/>
        </pc:sldMkLst>
      </pc:sldChg>
      <pc:sldChg chg="del">
        <pc:chgData name="Katerine Schifino" userId="37bb67de-9fcf-4611-888c-7e5b58184a2a" providerId="ADAL" clId="{D7BBC3CB-68AE-4307-9B5F-60512B429BF0}" dt="2022-03-22T19:32:41.816" v="328" actId="47"/>
        <pc:sldMkLst>
          <pc:docMk/>
          <pc:sldMk cId="4050850619" sldId="2146846101"/>
        </pc:sldMkLst>
      </pc:sldChg>
      <pc:sldChg chg="del">
        <pc:chgData name="Katerine Schifino" userId="37bb67de-9fcf-4611-888c-7e5b58184a2a" providerId="ADAL" clId="{D7BBC3CB-68AE-4307-9B5F-60512B429BF0}" dt="2022-03-22T19:32:43.908" v="335" actId="47"/>
        <pc:sldMkLst>
          <pc:docMk/>
          <pc:sldMk cId="1615697151" sldId="2146846102"/>
        </pc:sldMkLst>
      </pc:sldChg>
      <pc:sldChg chg="del">
        <pc:chgData name="Katerine Schifino" userId="37bb67de-9fcf-4611-888c-7e5b58184a2a" providerId="ADAL" clId="{D7BBC3CB-68AE-4307-9B5F-60512B429BF0}" dt="2022-03-22T19:32:44.096" v="336" actId="47"/>
        <pc:sldMkLst>
          <pc:docMk/>
          <pc:sldMk cId="2320250215" sldId="2146846103"/>
        </pc:sldMkLst>
      </pc:sldChg>
      <pc:sldChg chg="addSp delSp modSp add mod ord modClrScheme chgLayout">
        <pc:chgData name="Katerine Schifino" userId="37bb67de-9fcf-4611-888c-7e5b58184a2a" providerId="ADAL" clId="{D7BBC3CB-68AE-4307-9B5F-60512B429BF0}" dt="2022-03-23T21:15:36.185" v="5035" actId="20577"/>
        <pc:sldMkLst>
          <pc:docMk/>
          <pc:sldMk cId="2367529978" sldId="2146846104"/>
        </pc:sldMkLst>
        <pc:spChg chg="mod topLvl">
          <ac:chgData name="Katerine Schifino" userId="37bb67de-9fcf-4611-888c-7e5b58184a2a" providerId="ADAL" clId="{D7BBC3CB-68AE-4307-9B5F-60512B429BF0}" dt="2022-03-22T19:48:57.117" v="453" actId="164"/>
          <ac:spMkLst>
            <pc:docMk/>
            <pc:sldMk cId="2367529978" sldId="2146846104"/>
            <ac:spMk id="2" creationId="{AD32C72C-1F96-4DFD-ADD8-EB98012F7829}"/>
          </ac:spMkLst>
        </pc:spChg>
        <pc:spChg chg="mod">
          <ac:chgData name="Katerine Schifino" userId="37bb67de-9fcf-4611-888c-7e5b58184a2a" providerId="ADAL" clId="{D7BBC3CB-68AE-4307-9B5F-60512B429BF0}" dt="2022-03-22T19:46:45.882" v="354" actId="1076"/>
          <ac:spMkLst>
            <pc:docMk/>
            <pc:sldMk cId="2367529978" sldId="2146846104"/>
            <ac:spMk id="3" creationId="{F37952A8-26A7-4620-BB6E-749B2F7FE437}"/>
          </ac:spMkLst>
        </pc:spChg>
        <pc:spChg chg="mod">
          <ac:chgData name="Katerine Schifino" userId="37bb67de-9fcf-4611-888c-7e5b58184a2a" providerId="ADAL" clId="{D7BBC3CB-68AE-4307-9B5F-60512B429BF0}" dt="2022-03-23T21:15:36.185" v="5035" actId="20577"/>
          <ac:spMkLst>
            <pc:docMk/>
            <pc:sldMk cId="2367529978" sldId="2146846104"/>
            <ac:spMk id="4" creationId="{CD3B507D-B343-498F-97D5-78CBF4589AAB}"/>
          </ac:spMkLst>
        </pc:spChg>
        <pc:spChg chg="mod topLvl">
          <ac:chgData name="Katerine Schifino" userId="37bb67de-9fcf-4611-888c-7e5b58184a2a" providerId="ADAL" clId="{D7BBC3CB-68AE-4307-9B5F-60512B429BF0}" dt="2022-03-22T19:48:57.117" v="453" actId="164"/>
          <ac:spMkLst>
            <pc:docMk/>
            <pc:sldMk cId="2367529978" sldId="2146846104"/>
            <ac:spMk id="7" creationId="{FA6EFE21-4F3A-45B5-ABF0-093745D6274C}"/>
          </ac:spMkLst>
        </pc:spChg>
        <pc:spChg chg="mod topLvl">
          <ac:chgData name="Katerine Schifino" userId="37bb67de-9fcf-4611-888c-7e5b58184a2a" providerId="ADAL" clId="{D7BBC3CB-68AE-4307-9B5F-60512B429BF0}" dt="2022-03-22T19:48:57.117" v="453" actId="164"/>
          <ac:spMkLst>
            <pc:docMk/>
            <pc:sldMk cId="2367529978" sldId="2146846104"/>
            <ac:spMk id="8" creationId="{F03B8265-C3FC-49AD-B22E-50F543F8AA49}"/>
          </ac:spMkLst>
        </pc:spChg>
        <pc:spChg chg="mod topLvl">
          <ac:chgData name="Katerine Schifino" userId="37bb67de-9fcf-4611-888c-7e5b58184a2a" providerId="ADAL" clId="{D7BBC3CB-68AE-4307-9B5F-60512B429BF0}" dt="2022-03-22T19:48:57.117" v="453" actId="164"/>
          <ac:spMkLst>
            <pc:docMk/>
            <pc:sldMk cId="2367529978" sldId="2146846104"/>
            <ac:spMk id="9" creationId="{9A1983EF-D4FF-46B1-8440-DF33A25B17E4}"/>
          </ac:spMkLst>
        </pc:spChg>
        <pc:spChg chg="mod topLvl">
          <ac:chgData name="Katerine Schifino" userId="37bb67de-9fcf-4611-888c-7e5b58184a2a" providerId="ADAL" clId="{D7BBC3CB-68AE-4307-9B5F-60512B429BF0}" dt="2022-03-22T19:48:57.117" v="453" actId="164"/>
          <ac:spMkLst>
            <pc:docMk/>
            <pc:sldMk cId="2367529978" sldId="2146846104"/>
            <ac:spMk id="10" creationId="{87810E87-F3A4-403D-9665-3B3290A9623E}"/>
          </ac:spMkLst>
        </pc:spChg>
        <pc:spChg chg="mod topLvl">
          <ac:chgData name="Katerine Schifino" userId="37bb67de-9fcf-4611-888c-7e5b58184a2a" providerId="ADAL" clId="{D7BBC3CB-68AE-4307-9B5F-60512B429BF0}" dt="2022-03-22T19:48:57.117" v="453" actId="164"/>
          <ac:spMkLst>
            <pc:docMk/>
            <pc:sldMk cId="2367529978" sldId="2146846104"/>
            <ac:spMk id="11" creationId="{2D70ED3A-26F9-4DA8-83EB-F7904304F66B}"/>
          </ac:spMkLst>
        </pc:spChg>
        <pc:spChg chg="mod topLvl">
          <ac:chgData name="Katerine Schifino" userId="37bb67de-9fcf-4611-888c-7e5b58184a2a" providerId="ADAL" clId="{D7BBC3CB-68AE-4307-9B5F-60512B429BF0}" dt="2022-03-22T19:48:57.117" v="453" actId="164"/>
          <ac:spMkLst>
            <pc:docMk/>
            <pc:sldMk cId="2367529978" sldId="2146846104"/>
            <ac:spMk id="12" creationId="{8F9F3F36-EB7E-435E-8B73-D6819A0E0E16}"/>
          </ac:spMkLst>
        </pc:spChg>
        <pc:spChg chg="mod topLvl">
          <ac:chgData name="Katerine Schifino" userId="37bb67de-9fcf-4611-888c-7e5b58184a2a" providerId="ADAL" clId="{D7BBC3CB-68AE-4307-9B5F-60512B429BF0}" dt="2022-03-22T19:48:57.117" v="453" actId="164"/>
          <ac:spMkLst>
            <pc:docMk/>
            <pc:sldMk cId="2367529978" sldId="2146846104"/>
            <ac:spMk id="13" creationId="{76396A78-CA3F-4CB5-B0C1-0088D495A014}"/>
          </ac:spMkLst>
        </pc:spChg>
        <pc:spChg chg="mod topLvl">
          <ac:chgData name="Katerine Schifino" userId="37bb67de-9fcf-4611-888c-7e5b58184a2a" providerId="ADAL" clId="{D7BBC3CB-68AE-4307-9B5F-60512B429BF0}" dt="2022-03-22T19:48:57.117" v="453" actId="164"/>
          <ac:spMkLst>
            <pc:docMk/>
            <pc:sldMk cId="2367529978" sldId="2146846104"/>
            <ac:spMk id="17" creationId="{2C52C0E2-7615-47CE-9329-55869F51964D}"/>
          </ac:spMkLst>
        </pc:spChg>
        <pc:spChg chg="mod topLvl">
          <ac:chgData name="Katerine Schifino" userId="37bb67de-9fcf-4611-888c-7e5b58184a2a" providerId="ADAL" clId="{D7BBC3CB-68AE-4307-9B5F-60512B429BF0}" dt="2022-03-22T19:48:57.117" v="453" actId="164"/>
          <ac:spMkLst>
            <pc:docMk/>
            <pc:sldMk cId="2367529978" sldId="2146846104"/>
            <ac:spMk id="18" creationId="{0688AE72-9DCC-4D78-AD8E-FC32C6BE67FF}"/>
          </ac:spMkLst>
        </pc:spChg>
        <pc:spChg chg="mod topLvl">
          <ac:chgData name="Katerine Schifino" userId="37bb67de-9fcf-4611-888c-7e5b58184a2a" providerId="ADAL" clId="{D7BBC3CB-68AE-4307-9B5F-60512B429BF0}" dt="2022-03-22T19:48:57.117" v="453" actId="164"/>
          <ac:spMkLst>
            <pc:docMk/>
            <pc:sldMk cId="2367529978" sldId="2146846104"/>
            <ac:spMk id="19" creationId="{2B3082CB-7F63-49CF-9FB3-111A055648DD}"/>
          </ac:spMkLst>
        </pc:spChg>
        <pc:spChg chg="mod topLvl">
          <ac:chgData name="Katerine Schifino" userId="37bb67de-9fcf-4611-888c-7e5b58184a2a" providerId="ADAL" clId="{D7BBC3CB-68AE-4307-9B5F-60512B429BF0}" dt="2022-03-22T19:48:57.117" v="453" actId="164"/>
          <ac:spMkLst>
            <pc:docMk/>
            <pc:sldMk cId="2367529978" sldId="2146846104"/>
            <ac:spMk id="20" creationId="{8160494A-B5A6-4F23-827C-054E6D44097C}"/>
          </ac:spMkLst>
        </pc:spChg>
        <pc:spChg chg="mod topLvl">
          <ac:chgData name="Katerine Schifino" userId="37bb67de-9fcf-4611-888c-7e5b58184a2a" providerId="ADAL" clId="{D7BBC3CB-68AE-4307-9B5F-60512B429BF0}" dt="2022-03-22T19:48:57.117" v="453" actId="164"/>
          <ac:spMkLst>
            <pc:docMk/>
            <pc:sldMk cId="2367529978" sldId="2146846104"/>
            <ac:spMk id="21" creationId="{6091546B-A0F7-4E1D-B868-656797AE017A}"/>
          </ac:spMkLst>
        </pc:spChg>
        <pc:spChg chg="mod topLvl">
          <ac:chgData name="Katerine Schifino" userId="37bb67de-9fcf-4611-888c-7e5b58184a2a" providerId="ADAL" clId="{D7BBC3CB-68AE-4307-9B5F-60512B429BF0}" dt="2022-03-22T19:48:57.117" v="453" actId="164"/>
          <ac:spMkLst>
            <pc:docMk/>
            <pc:sldMk cId="2367529978" sldId="2146846104"/>
            <ac:spMk id="22" creationId="{F8F8F633-3053-46E3-A104-33F46481EC99}"/>
          </ac:spMkLst>
        </pc:spChg>
        <pc:spChg chg="mod topLvl">
          <ac:chgData name="Katerine Schifino" userId="37bb67de-9fcf-4611-888c-7e5b58184a2a" providerId="ADAL" clId="{D7BBC3CB-68AE-4307-9B5F-60512B429BF0}" dt="2022-03-22T19:48:57.117" v="453" actId="164"/>
          <ac:spMkLst>
            <pc:docMk/>
            <pc:sldMk cId="2367529978" sldId="2146846104"/>
            <ac:spMk id="23" creationId="{F54CC053-6EF7-4F0A-AD79-3D85E55AFAD9}"/>
          </ac:spMkLst>
        </pc:spChg>
        <pc:spChg chg="mod topLvl">
          <ac:chgData name="Katerine Schifino" userId="37bb67de-9fcf-4611-888c-7e5b58184a2a" providerId="ADAL" clId="{D7BBC3CB-68AE-4307-9B5F-60512B429BF0}" dt="2022-03-22T19:48:57.117" v="453" actId="164"/>
          <ac:spMkLst>
            <pc:docMk/>
            <pc:sldMk cId="2367529978" sldId="2146846104"/>
            <ac:spMk id="38" creationId="{1E939950-55B8-442A-9079-1DDA326A7D4B}"/>
          </ac:spMkLst>
        </pc:spChg>
        <pc:spChg chg="mod topLvl">
          <ac:chgData name="Katerine Schifino" userId="37bb67de-9fcf-4611-888c-7e5b58184a2a" providerId="ADAL" clId="{D7BBC3CB-68AE-4307-9B5F-60512B429BF0}" dt="2022-03-22T19:48:57.117" v="453" actId="164"/>
          <ac:spMkLst>
            <pc:docMk/>
            <pc:sldMk cId="2367529978" sldId="2146846104"/>
            <ac:spMk id="39" creationId="{BBB8749C-1D72-409B-B6AF-931B6A0B45ED}"/>
          </ac:spMkLst>
        </pc:spChg>
        <pc:spChg chg="mod topLvl">
          <ac:chgData name="Katerine Schifino" userId="37bb67de-9fcf-4611-888c-7e5b58184a2a" providerId="ADAL" clId="{D7BBC3CB-68AE-4307-9B5F-60512B429BF0}" dt="2022-03-22T19:48:57.117" v="453" actId="164"/>
          <ac:spMkLst>
            <pc:docMk/>
            <pc:sldMk cId="2367529978" sldId="2146846104"/>
            <ac:spMk id="40" creationId="{23DAAC81-4A3D-44E0-B37F-80D55820568E}"/>
          </ac:spMkLst>
        </pc:spChg>
        <pc:spChg chg="mod topLvl">
          <ac:chgData name="Katerine Schifino" userId="37bb67de-9fcf-4611-888c-7e5b58184a2a" providerId="ADAL" clId="{D7BBC3CB-68AE-4307-9B5F-60512B429BF0}" dt="2022-03-22T19:48:57.117" v="453" actId="164"/>
          <ac:spMkLst>
            <pc:docMk/>
            <pc:sldMk cId="2367529978" sldId="2146846104"/>
            <ac:spMk id="41" creationId="{B5659BD7-1C2C-447C-AC45-8AC1F3767E48}"/>
          </ac:spMkLst>
        </pc:spChg>
        <pc:spChg chg="mod topLvl">
          <ac:chgData name="Katerine Schifino" userId="37bb67de-9fcf-4611-888c-7e5b58184a2a" providerId="ADAL" clId="{D7BBC3CB-68AE-4307-9B5F-60512B429BF0}" dt="2022-03-22T19:48:57.117" v="453" actId="164"/>
          <ac:spMkLst>
            <pc:docMk/>
            <pc:sldMk cId="2367529978" sldId="2146846104"/>
            <ac:spMk id="42" creationId="{2F9652C3-5AB4-4579-81DB-F9040EEE4957}"/>
          </ac:spMkLst>
        </pc:spChg>
        <pc:spChg chg="mod topLvl">
          <ac:chgData name="Katerine Schifino" userId="37bb67de-9fcf-4611-888c-7e5b58184a2a" providerId="ADAL" clId="{D7BBC3CB-68AE-4307-9B5F-60512B429BF0}" dt="2022-03-22T19:48:57.117" v="453" actId="164"/>
          <ac:spMkLst>
            <pc:docMk/>
            <pc:sldMk cId="2367529978" sldId="2146846104"/>
            <ac:spMk id="43" creationId="{8216E04F-408F-4C70-BDDE-E32240252A8D}"/>
          </ac:spMkLst>
        </pc:spChg>
        <pc:spChg chg="mod topLvl">
          <ac:chgData name="Katerine Schifino" userId="37bb67de-9fcf-4611-888c-7e5b58184a2a" providerId="ADAL" clId="{D7BBC3CB-68AE-4307-9B5F-60512B429BF0}" dt="2022-03-22T19:48:57.117" v="453" actId="164"/>
          <ac:spMkLst>
            <pc:docMk/>
            <pc:sldMk cId="2367529978" sldId="2146846104"/>
            <ac:spMk id="44" creationId="{5B993871-DC36-45AD-AD77-916488C213CD}"/>
          </ac:spMkLst>
        </pc:spChg>
        <pc:spChg chg="mod topLvl">
          <ac:chgData name="Katerine Schifino" userId="37bb67de-9fcf-4611-888c-7e5b58184a2a" providerId="ADAL" clId="{D7BBC3CB-68AE-4307-9B5F-60512B429BF0}" dt="2022-03-22T19:48:57.117" v="453" actId="164"/>
          <ac:spMkLst>
            <pc:docMk/>
            <pc:sldMk cId="2367529978" sldId="2146846104"/>
            <ac:spMk id="45" creationId="{06412CEB-8FA2-46AD-90B7-5E5F63F9468C}"/>
          </ac:spMkLst>
        </pc:spChg>
        <pc:spChg chg="mod topLvl">
          <ac:chgData name="Katerine Schifino" userId="37bb67de-9fcf-4611-888c-7e5b58184a2a" providerId="ADAL" clId="{D7BBC3CB-68AE-4307-9B5F-60512B429BF0}" dt="2022-03-22T19:48:57.117" v="453" actId="164"/>
          <ac:spMkLst>
            <pc:docMk/>
            <pc:sldMk cId="2367529978" sldId="2146846104"/>
            <ac:spMk id="46" creationId="{5030D191-BACA-494F-8B6E-8AFD48AB9AE9}"/>
          </ac:spMkLst>
        </pc:spChg>
        <pc:spChg chg="mod topLvl">
          <ac:chgData name="Katerine Schifino" userId="37bb67de-9fcf-4611-888c-7e5b58184a2a" providerId="ADAL" clId="{D7BBC3CB-68AE-4307-9B5F-60512B429BF0}" dt="2022-03-22T19:48:57.117" v="453" actId="164"/>
          <ac:spMkLst>
            <pc:docMk/>
            <pc:sldMk cId="2367529978" sldId="2146846104"/>
            <ac:spMk id="47" creationId="{B4179A8D-F4B6-445E-9808-C7E1ED35EAB3}"/>
          </ac:spMkLst>
        </pc:spChg>
        <pc:spChg chg="mod topLvl">
          <ac:chgData name="Katerine Schifino" userId="37bb67de-9fcf-4611-888c-7e5b58184a2a" providerId="ADAL" clId="{D7BBC3CB-68AE-4307-9B5F-60512B429BF0}" dt="2022-03-22T19:48:57.117" v="453" actId="164"/>
          <ac:spMkLst>
            <pc:docMk/>
            <pc:sldMk cId="2367529978" sldId="2146846104"/>
            <ac:spMk id="48" creationId="{07B02A96-9255-45C9-91C9-E1979E87741B}"/>
          </ac:spMkLst>
        </pc:spChg>
        <pc:spChg chg="mod topLvl">
          <ac:chgData name="Katerine Schifino" userId="37bb67de-9fcf-4611-888c-7e5b58184a2a" providerId="ADAL" clId="{D7BBC3CB-68AE-4307-9B5F-60512B429BF0}" dt="2022-03-22T19:48:57.117" v="453" actId="164"/>
          <ac:spMkLst>
            <pc:docMk/>
            <pc:sldMk cId="2367529978" sldId="2146846104"/>
            <ac:spMk id="49" creationId="{FB00FE5E-1D9D-4161-9518-B5CEF7942421}"/>
          </ac:spMkLst>
        </pc:spChg>
        <pc:spChg chg="mod topLvl">
          <ac:chgData name="Katerine Schifino" userId="37bb67de-9fcf-4611-888c-7e5b58184a2a" providerId="ADAL" clId="{D7BBC3CB-68AE-4307-9B5F-60512B429BF0}" dt="2022-03-22T19:48:57.117" v="453" actId="164"/>
          <ac:spMkLst>
            <pc:docMk/>
            <pc:sldMk cId="2367529978" sldId="2146846104"/>
            <ac:spMk id="50" creationId="{2EE506AC-6F01-46A4-86EF-2CA8B79507E5}"/>
          </ac:spMkLst>
        </pc:spChg>
        <pc:spChg chg="mod topLvl">
          <ac:chgData name="Katerine Schifino" userId="37bb67de-9fcf-4611-888c-7e5b58184a2a" providerId="ADAL" clId="{D7BBC3CB-68AE-4307-9B5F-60512B429BF0}" dt="2022-03-22T19:48:57.117" v="453" actId="164"/>
          <ac:spMkLst>
            <pc:docMk/>
            <pc:sldMk cId="2367529978" sldId="2146846104"/>
            <ac:spMk id="51" creationId="{1D9BBDEB-221C-4741-9979-C335EE48F38E}"/>
          </ac:spMkLst>
        </pc:spChg>
        <pc:spChg chg="mod">
          <ac:chgData name="Katerine Schifino" userId="37bb67de-9fcf-4611-888c-7e5b58184a2a" providerId="ADAL" clId="{D7BBC3CB-68AE-4307-9B5F-60512B429BF0}" dt="2022-03-22T19:46:39.702" v="352" actId="14100"/>
          <ac:spMkLst>
            <pc:docMk/>
            <pc:sldMk cId="2367529978" sldId="2146846104"/>
            <ac:spMk id="55" creationId="{693BE602-C9B4-412A-8447-FDCBB931768E}"/>
          </ac:spMkLst>
        </pc:spChg>
        <pc:spChg chg="add mod">
          <ac:chgData name="Katerine Schifino" userId="37bb67de-9fcf-4611-888c-7e5b58184a2a" providerId="ADAL" clId="{D7BBC3CB-68AE-4307-9B5F-60512B429BF0}" dt="2022-03-22T19:48:57.117" v="453" actId="164"/>
          <ac:spMkLst>
            <pc:docMk/>
            <pc:sldMk cId="2367529978" sldId="2146846104"/>
            <ac:spMk id="57" creationId="{394B82F5-6724-4183-9488-81BFE10400DC}"/>
          </ac:spMkLst>
        </pc:spChg>
        <pc:spChg chg="add mod">
          <ac:chgData name="Katerine Schifino" userId="37bb67de-9fcf-4611-888c-7e5b58184a2a" providerId="ADAL" clId="{D7BBC3CB-68AE-4307-9B5F-60512B429BF0}" dt="2022-03-22T19:48:57.117" v="453" actId="164"/>
          <ac:spMkLst>
            <pc:docMk/>
            <pc:sldMk cId="2367529978" sldId="2146846104"/>
            <ac:spMk id="58" creationId="{7091F8FD-E5CD-4924-8378-3090192AC734}"/>
          </ac:spMkLst>
        </pc:spChg>
        <pc:spChg chg="add mod">
          <ac:chgData name="Katerine Schifino" userId="37bb67de-9fcf-4611-888c-7e5b58184a2a" providerId="ADAL" clId="{D7BBC3CB-68AE-4307-9B5F-60512B429BF0}" dt="2022-03-22T19:48:57.117" v="453" actId="164"/>
          <ac:spMkLst>
            <pc:docMk/>
            <pc:sldMk cId="2367529978" sldId="2146846104"/>
            <ac:spMk id="59" creationId="{0DB6A865-BE08-424A-8AF5-34133796AE9C}"/>
          </ac:spMkLst>
        </pc:spChg>
        <pc:spChg chg="add mod">
          <ac:chgData name="Katerine Schifino" userId="37bb67de-9fcf-4611-888c-7e5b58184a2a" providerId="ADAL" clId="{D7BBC3CB-68AE-4307-9B5F-60512B429BF0}" dt="2022-03-22T19:48:57.117" v="453" actId="164"/>
          <ac:spMkLst>
            <pc:docMk/>
            <pc:sldMk cId="2367529978" sldId="2146846104"/>
            <ac:spMk id="60" creationId="{EC5A07DF-6C84-4BEF-99DD-7DA3EA2EF92E}"/>
          </ac:spMkLst>
        </pc:spChg>
        <pc:spChg chg="add mod">
          <ac:chgData name="Katerine Schifino" userId="37bb67de-9fcf-4611-888c-7e5b58184a2a" providerId="ADAL" clId="{D7BBC3CB-68AE-4307-9B5F-60512B429BF0}" dt="2022-03-22T19:48:57.117" v="453" actId="164"/>
          <ac:spMkLst>
            <pc:docMk/>
            <pc:sldMk cId="2367529978" sldId="2146846104"/>
            <ac:spMk id="61" creationId="{9E77B2A4-B4C4-4390-B8A5-64BC26B59ED0}"/>
          </ac:spMkLst>
        </pc:spChg>
        <pc:spChg chg="add mod">
          <ac:chgData name="Katerine Schifino" userId="37bb67de-9fcf-4611-888c-7e5b58184a2a" providerId="ADAL" clId="{D7BBC3CB-68AE-4307-9B5F-60512B429BF0}" dt="2022-03-22T19:48:57.117" v="453" actId="164"/>
          <ac:spMkLst>
            <pc:docMk/>
            <pc:sldMk cId="2367529978" sldId="2146846104"/>
            <ac:spMk id="62" creationId="{597EDDF8-FA18-450F-865A-640AB7C32852}"/>
          </ac:spMkLst>
        </pc:spChg>
        <pc:spChg chg="add mod">
          <ac:chgData name="Katerine Schifino" userId="37bb67de-9fcf-4611-888c-7e5b58184a2a" providerId="ADAL" clId="{D7BBC3CB-68AE-4307-9B5F-60512B429BF0}" dt="2022-03-22T19:48:57.117" v="453" actId="164"/>
          <ac:spMkLst>
            <pc:docMk/>
            <pc:sldMk cId="2367529978" sldId="2146846104"/>
            <ac:spMk id="63" creationId="{39179F78-4E61-42BC-9B92-CDB193E490A5}"/>
          </ac:spMkLst>
        </pc:spChg>
        <pc:grpChg chg="add mod">
          <ac:chgData name="Katerine Schifino" userId="37bb67de-9fcf-4611-888c-7e5b58184a2a" providerId="ADAL" clId="{D7BBC3CB-68AE-4307-9B5F-60512B429BF0}" dt="2022-03-22T19:48:57.117" v="453" actId="164"/>
          <ac:grpSpMkLst>
            <pc:docMk/>
            <pc:sldMk cId="2367529978" sldId="2146846104"/>
            <ac:grpSpMk id="6" creationId="{261DB4A7-4C07-46D7-916D-B61EDC194383}"/>
          </ac:grpSpMkLst>
        </pc:grpChg>
        <pc:grpChg chg="mod">
          <ac:chgData name="Katerine Schifino" userId="37bb67de-9fcf-4611-888c-7e5b58184a2a" providerId="ADAL" clId="{D7BBC3CB-68AE-4307-9B5F-60512B429BF0}" dt="2022-03-22T19:47:12.748" v="360" actId="1076"/>
          <ac:grpSpMkLst>
            <pc:docMk/>
            <pc:sldMk cId="2367529978" sldId="2146846104"/>
            <ac:grpSpMk id="54" creationId="{C8CACEA6-0212-4EFD-B253-05AA389E4D94}"/>
          </ac:grpSpMkLst>
        </pc:grpChg>
        <pc:grpChg chg="del mod">
          <ac:chgData name="Katerine Schifino" userId="37bb67de-9fcf-4611-888c-7e5b58184a2a" providerId="ADAL" clId="{D7BBC3CB-68AE-4307-9B5F-60512B429BF0}" dt="2022-03-22T19:47:48.501" v="364" actId="165"/>
          <ac:grpSpMkLst>
            <pc:docMk/>
            <pc:sldMk cId="2367529978" sldId="2146846104"/>
            <ac:grpSpMk id="56" creationId="{28F61522-AC2E-485A-AF45-90E1FF06D661}"/>
          </ac:grpSpMkLst>
        </pc:grpChg>
        <pc:cxnChg chg="mod topLvl">
          <ac:chgData name="Katerine Schifino" userId="37bb67de-9fcf-4611-888c-7e5b58184a2a" providerId="ADAL" clId="{D7BBC3CB-68AE-4307-9B5F-60512B429BF0}" dt="2022-03-22T19:48:57.117" v="453" actId="164"/>
          <ac:cxnSpMkLst>
            <pc:docMk/>
            <pc:sldMk cId="2367529978" sldId="2146846104"/>
            <ac:cxnSpMk id="5" creationId="{ACEDF268-4996-47AC-95A1-EA61D6813161}"/>
          </ac:cxnSpMkLst>
        </pc:cxnChg>
        <pc:cxnChg chg="mod topLvl">
          <ac:chgData name="Katerine Schifino" userId="37bb67de-9fcf-4611-888c-7e5b58184a2a" providerId="ADAL" clId="{D7BBC3CB-68AE-4307-9B5F-60512B429BF0}" dt="2022-03-22T19:48:57.117" v="453" actId="164"/>
          <ac:cxnSpMkLst>
            <pc:docMk/>
            <pc:sldMk cId="2367529978" sldId="2146846104"/>
            <ac:cxnSpMk id="15" creationId="{2B59B27D-9096-42AE-B478-2CFA7B8AD322}"/>
          </ac:cxnSpMkLst>
        </pc:cxnChg>
        <pc:cxnChg chg="mod topLvl">
          <ac:chgData name="Katerine Schifino" userId="37bb67de-9fcf-4611-888c-7e5b58184a2a" providerId="ADAL" clId="{D7BBC3CB-68AE-4307-9B5F-60512B429BF0}" dt="2022-03-22T19:48:57.117" v="453" actId="164"/>
          <ac:cxnSpMkLst>
            <pc:docMk/>
            <pc:sldMk cId="2367529978" sldId="2146846104"/>
            <ac:cxnSpMk id="16" creationId="{753FC988-99A2-4060-9A3F-ABDDCB249FC2}"/>
          </ac:cxnSpMkLst>
        </pc:cxnChg>
      </pc:sldChg>
      <pc:sldChg chg="addSp delSp modSp add mod modClrScheme chgLayout">
        <pc:chgData name="Katerine Schifino" userId="37bb67de-9fcf-4611-888c-7e5b58184a2a" providerId="ADAL" clId="{D7BBC3CB-68AE-4307-9B5F-60512B429BF0}" dt="2022-03-23T23:42:22.824" v="9519" actId="108"/>
        <pc:sldMkLst>
          <pc:docMk/>
          <pc:sldMk cId="1468592198" sldId="2146846105"/>
        </pc:sldMkLst>
        <pc:spChg chg="mod">
          <ac:chgData name="Katerine Schifino" userId="37bb67de-9fcf-4611-888c-7e5b58184a2a" providerId="ADAL" clId="{D7BBC3CB-68AE-4307-9B5F-60512B429BF0}" dt="2022-03-23T16:32:45.663" v="2544" actId="403"/>
          <ac:spMkLst>
            <pc:docMk/>
            <pc:sldMk cId="1468592198" sldId="2146846105"/>
            <ac:spMk id="5" creationId="{9EDBD20C-0B84-4943-BD69-E6C88D054D63}"/>
          </ac:spMkLst>
        </pc:spChg>
        <pc:spChg chg="del mod">
          <ac:chgData name="Katerine Schifino" userId="37bb67de-9fcf-4611-888c-7e5b58184a2a" providerId="ADAL" clId="{D7BBC3CB-68AE-4307-9B5F-60512B429BF0}" dt="2022-03-23T16:23:39.301" v="2448"/>
          <ac:spMkLst>
            <pc:docMk/>
            <pc:sldMk cId="1468592198" sldId="2146846105"/>
            <ac:spMk id="8" creationId="{3FDA7948-2F5A-4208-BA8B-40B68DC4FCE1}"/>
          </ac:spMkLst>
        </pc:spChg>
        <pc:spChg chg="add mod">
          <ac:chgData name="Katerine Schifino" userId="37bb67de-9fcf-4611-888c-7e5b58184a2a" providerId="ADAL" clId="{D7BBC3CB-68AE-4307-9B5F-60512B429BF0}" dt="2022-03-23T23:42:22.824" v="9519" actId="108"/>
          <ac:spMkLst>
            <pc:docMk/>
            <pc:sldMk cId="1468592198" sldId="2146846105"/>
            <ac:spMk id="9" creationId="{992DD17F-9D39-4C72-8679-AA972FC92653}"/>
          </ac:spMkLst>
        </pc:spChg>
        <pc:spChg chg="add del mod">
          <ac:chgData name="Katerine Schifino" userId="37bb67de-9fcf-4611-888c-7e5b58184a2a" providerId="ADAL" clId="{D7BBC3CB-68AE-4307-9B5F-60512B429BF0}" dt="2022-03-23T21:16:13.085" v="5038" actId="478"/>
          <ac:spMkLst>
            <pc:docMk/>
            <pc:sldMk cId="1468592198" sldId="2146846105"/>
            <ac:spMk id="10" creationId="{F773CDFD-9A40-44A2-8E3B-32943A915C16}"/>
          </ac:spMkLst>
        </pc:spChg>
        <pc:picChg chg="mod">
          <ac:chgData name="Katerine Schifino" userId="37bb67de-9fcf-4611-888c-7e5b58184a2a" providerId="ADAL" clId="{D7BBC3CB-68AE-4307-9B5F-60512B429BF0}" dt="2022-03-23T16:32:52.202" v="2545" actId="1076"/>
          <ac:picMkLst>
            <pc:docMk/>
            <pc:sldMk cId="1468592198" sldId="2146846105"/>
            <ac:picMk id="1026" creationId="{60C57D08-DD19-418A-B5ED-A1A7CDF7FEBF}"/>
          </ac:picMkLst>
        </pc:picChg>
      </pc:sldChg>
      <pc:sldChg chg="del">
        <pc:chgData name="Katerine Schifino" userId="37bb67de-9fcf-4611-888c-7e5b58184a2a" providerId="ADAL" clId="{D7BBC3CB-68AE-4307-9B5F-60512B429BF0}" dt="2022-03-22T19:32:41.306" v="325" actId="47"/>
        <pc:sldMkLst>
          <pc:docMk/>
          <pc:sldMk cId="3668654054" sldId="2146846107"/>
        </pc:sldMkLst>
      </pc:sldChg>
      <pc:sldChg chg="addSp delSp modSp add mod ord modClrScheme modAnim chgLayout">
        <pc:chgData name="Katerine Schifino" userId="37bb67de-9fcf-4611-888c-7e5b58184a2a" providerId="ADAL" clId="{D7BBC3CB-68AE-4307-9B5F-60512B429BF0}" dt="2022-03-23T20:42:51.772" v="4332" actId="478"/>
        <pc:sldMkLst>
          <pc:docMk/>
          <pc:sldMk cId="180394613" sldId="2146846108"/>
        </pc:sldMkLst>
        <pc:spChg chg="add del mod">
          <ac:chgData name="Katerine Schifino" userId="37bb67de-9fcf-4611-888c-7e5b58184a2a" providerId="ADAL" clId="{D7BBC3CB-68AE-4307-9B5F-60512B429BF0}" dt="2022-03-23T13:16:14.033" v="478" actId="478"/>
          <ac:spMkLst>
            <pc:docMk/>
            <pc:sldMk cId="180394613" sldId="2146846108"/>
            <ac:spMk id="2" creationId="{D6023ED0-7B56-4284-A0C2-3637347361D2}"/>
          </ac:spMkLst>
        </pc:spChg>
        <pc:spChg chg="add mod">
          <ac:chgData name="Katerine Schifino" userId="37bb67de-9fcf-4611-888c-7e5b58184a2a" providerId="ADAL" clId="{D7BBC3CB-68AE-4307-9B5F-60512B429BF0}" dt="2022-03-23T14:10:23.311" v="1696" actId="20577"/>
          <ac:spMkLst>
            <pc:docMk/>
            <pc:sldMk cId="180394613" sldId="2146846108"/>
            <ac:spMk id="6" creationId="{84AB6011-3C49-4817-B444-68EF20398F2D}"/>
          </ac:spMkLst>
        </pc:spChg>
        <pc:spChg chg="mod topLvl">
          <ac:chgData name="Katerine Schifino" userId="37bb67de-9fcf-4611-888c-7e5b58184a2a" providerId="ADAL" clId="{D7BBC3CB-68AE-4307-9B5F-60512B429BF0}" dt="2022-03-23T14:09:58.381" v="1693" actId="478"/>
          <ac:spMkLst>
            <pc:docMk/>
            <pc:sldMk cId="180394613" sldId="2146846108"/>
            <ac:spMk id="8" creationId="{6FF53123-AD0B-443A-861E-15AF694E06FD}"/>
          </ac:spMkLst>
        </pc:spChg>
        <pc:spChg chg="del mod topLvl">
          <ac:chgData name="Katerine Schifino" userId="37bb67de-9fcf-4611-888c-7e5b58184a2a" providerId="ADAL" clId="{D7BBC3CB-68AE-4307-9B5F-60512B429BF0}" dt="2022-03-23T14:09:58.381" v="1693" actId="478"/>
          <ac:spMkLst>
            <pc:docMk/>
            <pc:sldMk cId="180394613" sldId="2146846108"/>
            <ac:spMk id="9" creationId="{05107EB8-6C49-43E4-A893-CA8B4C4BD34A}"/>
          </ac:spMkLst>
        </pc:spChg>
        <pc:spChg chg="add mod">
          <ac:chgData name="Katerine Schifino" userId="37bb67de-9fcf-4611-888c-7e5b58184a2a" providerId="ADAL" clId="{D7BBC3CB-68AE-4307-9B5F-60512B429BF0}" dt="2022-03-23T14:10:01.839" v="1694" actId="164"/>
          <ac:spMkLst>
            <pc:docMk/>
            <pc:sldMk cId="180394613" sldId="2146846108"/>
            <ac:spMk id="13" creationId="{569CA870-1CD5-45B1-A013-B3786E164D90}"/>
          </ac:spMkLst>
        </pc:spChg>
        <pc:spChg chg="add mod">
          <ac:chgData name="Katerine Schifino" userId="37bb67de-9fcf-4611-888c-7e5b58184a2a" providerId="ADAL" clId="{D7BBC3CB-68AE-4307-9B5F-60512B429BF0}" dt="2022-03-23T14:10:01.839" v="1694" actId="164"/>
          <ac:spMkLst>
            <pc:docMk/>
            <pc:sldMk cId="180394613" sldId="2146846108"/>
            <ac:spMk id="14" creationId="{1F37DF61-B666-4446-9AE9-55C4F3220A33}"/>
          </ac:spMkLst>
        </pc:spChg>
        <pc:spChg chg="add mod">
          <ac:chgData name="Katerine Schifino" userId="37bb67de-9fcf-4611-888c-7e5b58184a2a" providerId="ADAL" clId="{D7BBC3CB-68AE-4307-9B5F-60512B429BF0}" dt="2022-03-23T14:10:01.839" v="1694" actId="164"/>
          <ac:spMkLst>
            <pc:docMk/>
            <pc:sldMk cId="180394613" sldId="2146846108"/>
            <ac:spMk id="15" creationId="{2D0C921B-99E8-4859-AD98-7EBA25C55F19}"/>
          </ac:spMkLst>
        </pc:spChg>
        <pc:spChg chg="add mod">
          <ac:chgData name="Katerine Schifino" userId="37bb67de-9fcf-4611-888c-7e5b58184a2a" providerId="ADAL" clId="{D7BBC3CB-68AE-4307-9B5F-60512B429BF0}" dt="2022-03-23T14:10:01.839" v="1694" actId="164"/>
          <ac:spMkLst>
            <pc:docMk/>
            <pc:sldMk cId="180394613" sldId="2146846108"/>
            <ac:spMk id="16" creationId="{E8535E27-E885-4E57-835A-EBE70E1E4687}"/>
          </ac:spMkLst>
        </pc:spChg>
        <pc:spChg chg="add mod">
          <ac:chgData name="Katerine Schifino" userId="37bb67de-9fcf-4611-888c-7e5b58184a2a" providerId="ADAL" clId="{D7BBC3CB-68AE-4307-9B5F-60512B429BF0}" dt="2022-03-23T15:22:14.789" v="1778" actId="207"/>
          <ac:spMkLst>
            <pc:docMk/>
            <pc:sldMk cId="180394613" sldId="2146846108"/>
            <ac:spMk id="19" creationId="{80B56962-93BA-4EF8-8C79-51FE2E280B12}"/>
          </ac:spMkLst>
        </pc:spChg>
        <pc:spChg chg="add mod ord">
          <ac:chgData name="Katerine Schifino" userId="37bb67de-9fcf-4611-888c-7e5b58184a2a" providerId="ADAL" clId="{D7BBC3CB-68AE-4307-9B5F-60512B429BF0}" dt="2022-03-23T15:22:15.164" v="1779" actId="207"/>
          <ac:spMkLst>
            <pc:docMk/>
            <pc:sldMk cId="180394613" sldId="2146846108"/>
            <ac:spMk id="20" creationId="{C7CFD88E-5E79-400B-8C7F-79B0576C036E}"/>
          </ac:spMkLst>
        </pc:spChg>
        <pc:spChg chg="add mod">
          <ac:chgData name="Katerine Schifino" userId="37bb67de-9fcf-4611-888c-7e5b58184a2a" providerId="ADAL" clId="{D7BBC3CB-68AE-4307-9B5F-60512B429BF0}" dt="2022-03-23T15:22:02.006" v="1775" actId="207"/>
          <ac:spMkLst>
            <pc:docMk/>
            <pc:sldMk cId="180394613" sldId="2146846108"/>
            <ac:spMk id="21" creationId="{00B85319-09AA-4528-85B5-6D1546F938E9}"/>
          </ac:spMkLst>
        </pc:spChg>
        <pc:spChg chg="add del mod ord">
          <ac:chgData name="Katerine Schifino" userId="37bb67de-9fcf-4611-888c-7e5b58184a2a" providerId="ADAL" clId="{D7BBC3CB-68AE-4307-9B5F-60512B429BF0}" dt="2022-03-23T15:36:19.975" v="2030"/>
          <ac:spMkLst>
            <pc:docMk/>
            <pc:sldMk cId="180394613" sldId="2146846108"/>
            <ac:spMk id="23" creationId="{5D69FBFD-DA18-4649-ADF3-02B66EFA95D7}"/>
          </ac:spMkLst>
        </pc:spChg>
        <pc:spChg chg="add del mod">
          <ac:chgData name="Katerine Schifino" userId="37bb67de-9fcf-4611-888c-7e5b58184a2a" providerId="ADAL" clId="{D7BBC3CB-68AE-4307-9B5F-60512B429BF0}" dt="2022-03-23T15:36:58.506" v="2044" actId="478"/>
          <ac:spMkLst>
            <pc:docMk/>
            <pc:sldMk cId="180394613" sldId="2146846108"/>
            <ac:spMk id="24" creationId="{DAEB18A0-08C7-4F4A-A36F-ED74430046D8}"/>
          </ac:spMkLst>
        </pc:spChg>
        <pc:spChg chg="add mod">
          <ac:chgData name="Katerine Schifino" userId="37bb67de-9fcf-4611-888c-7e5b58184a2a" providerId="ADAL" clId="{D7BBC3CB-68AE-4307-9B5F-60512B429BF0}" dt="2022-03-23T15:43:24.560" v="2095" actId="14100"/>
          <ac:spMkLst>
            <pc:docMk/>
            <pc:sldMk cId="180394613" sldId="2146846108"/>
            <ac:spMk id="25" creationId="{D360DB5E-F9D8-417D-AB24-D6DC5E9C848E}"/>
          </ac:spMkLst>
        </pc:spChg>
        <pc:spChg chg="add mod">
          <ac:chgData name="Katerine Schifino" userId="37bb67de-9fcf-4611-888c-7e5b58184a2a" providerId="ADAL" clId="{D7BBC3CB-68AE-4307-9B5F-60512B429BF0}" dt="2022-03-23T15:28:11.106" v="1947" actId="164"/>
          <ac:spMkLst>
            <pc:docMk/>
            <pc:sldMk cId="180394613" sldId="2146846108"/>
            <ac:spMk id="26" creationId="{3923B30F-9C3B-4C14-962B-E705E78081F5}"/>
          </ac:spMkLst>
        </pc:spChg>
        <pc:spChg chg="add mod">
          <ac:chgData name="Katerine Schifino" userId="37bb67de-9fcf-4611-888c-7e5b58184a2a" providerId="ADAL" clId="{D7BBC3CB-68AE-4307-9B5F-60512B429BF0}" dt="2022-03-23T15:28:11.106" v="1947" actId="164"/>
          <ac:spMkLst>
            <pc:docMk/>
            <pc:sldMk cId="180394613" sldId="2146846108"/>
            <ac:spMk id="27" creationId="{F118B792-A34F-4857-862C-7A2BEA858D5D}"/>
          </ac:spMkLst>
        </pc:spChg>
        <pc:spChg chg="add mod">
          <ac:chgData name="Katerine Schifino" userId="37bb67de-9fcf-4611-888c-7e5b58184a2a" providerId="ADAL" clId="{D7BBC3CB-68AE-4307-9B5F-60512B429BF0}" dt="2022-03-23T15:28:11.106" v="1947" actId="164"/>
          <ac:spMkLst>
            <pc:docMk/>
            <pc:sldMk cId="180394613" sldId="2146846108"/>
            <ac:spMk id="28" creationId="{6D7D4940-40F7-4B6A-B535-C05D10E2CEE3}"/>
          </ac:spMkLst>
        </pc:spChg>
        <pc:spChg chg="add del mod">
          <ac:chgData name="Katerine Schifino" userId="37bb67de-9fcf-4611-888c-7e5b58184a2a" providerId="ADAL" clId="{D7BBC3CB-68AE-4307-9B5F-60512B429BF0}" dt="2022-03-23T15:29:07.434" v="1951"/>
          <ac:spMkLst>
            <pc:docMk/>
            <pc:sldMk cId="180394613" sldId="2146846108"/>
            <ac:spMk id="30" creationId="{38335F42-05FC-426F-B2D4-8B81611734E9}"/>
          </ac:spMkLst>
        </pc:spChg>
        <pc:spChg chg="add del mod">
          <ac:chgData name="Katerine Schifino" userId="37bb67de-9fcf-4611-888c-7e5b58184a2a" providerId="ADAL" clId="{D7BBC3CB-68AE-4307-9B5F-60512B429BF0}" dt="2022-03-23T15:30:00.497" v="1978" actId="478"/>
          <ac:spMkLst>
            <pc:docMk/>
            <pc:sldMk cId="180394613" sldId="2146846108"/>
            <ac:spMk id="31" creationId="{89516480-C8B4-4CBE-BFFE-29350C7FDFDA}"/>
          </ac:spMkLst>
        </pc:spChg>
        <pc:spChg chg="add del mod">
          <ac:chgData name="Katerine Schifino" userId="37bb67de-9fcf-4611-888c-7e5b58184a2a" providerId="ADAL" clId="{D7BBC3CB-68AE-4307-9B5F-60512B429BF0}" dt="2022-03-23T15:31:47.714" v="1990" actId="478"/>
          <ac:spMkLst>
            <pc:docMk/>
            <pc:sldMk cId="180394613" sldId="2146846108"/>
            <ac:spMk id="32" creationId="{BF4118B0-AEAD-4FD8-B5F2-F1FCCB237EA0}"/>
          </ac:spMkLst>
        </pc:spChg>
        <pc:spChg chg="add mod">
          <ac:chgData name="Katerine Schifino" userId="37bb67de-9fcf-4611-888c-7e5b58184a2a" providerId="ADAL" clId="{D7BBC3CB-68AE-4307-9B5F-60512B429BF0}" dt="2022-03-23T15:43:34.658" v="2098" actId="14100"/>
          <ac:spMkLst>
            <pc:docMk/>
            <pc:sldMk cId="180394613" sldId="2146846108"/>
            <ac:spMk id="33" creationId="{D2F9D194-34AD-447F-9AFF-95ED49E413D2}"/>
          </ac:spMkLst>
        </pc:spChg>
        <pc:spChg chg="add mod">
          <ac:chgData name="Katerine Schifino" userId="37bb67de-9fcf-4611-888c-7e5b58184a2a" providerId="ADAL" clId="{D7BBC3CB-68AE-4307-9B5F-60512B429BF0}" dt="2022-03-23T15:43:28.327" v="2096" actId="14100"/>
          <ac:spMkLst>
            <pc:docMk/>
            <pc:sldMk cId="180394613" sldId="2146846108"/>
            <ac:spMk id="34" creationId="{DD1A033C-A83C-426B-867C-E517E09DE1EA}"/>
          </ac:spMkLst>
        </pc:spChg>
        <pc:spChg chg="add del mod">
          <ac:chgData name="Katerine Schifino" userId="37bb67de-9fcf-4611-888c-7e5b58184a2a" providerId="ADAL" clId="{D7BBC3CB-68AE-4307-9B5F-60512B429BF0}" dt="2022-03-23T20:42:51.772" v="4332" actId="478"/>
          <ac:spMkLst>
            <pc:docMk/>
            <pc:sldMk cId="180394613" sldId="2146846108"/>
            <ac:spMk id="35" creationId="{7D204074-8AE5-44A8-8672-96FE12E7D6C2}"/>
          </ac:spMkLst>
        </pc:spChg>
        <pc:spChg chg="del">
          <ac:chgData name="Katerine Schifino" userId="37bb67de-9fcf-4611-888c-7e5b58184a2a" providerId="ADAL" clId="{D7BBC3CB-68AE-4307-9B5F-60512B429BF0}" dt="2022-03-22T19:54:38.004" v="459" actId="478"/>
          <ac:spMkLst>
            <pc:docMk/>
            <pc:sldMk cId="180394613" sldId="2146846108"/>
            <ac:spMk id="57" creationId="{BD1F0C49-F465-45F3-A15F-7C674A2D8D32}"/>
          </ac:spMkLst>
        </pc:spChg>
        <pc:grpChg chg="add del mod">
          <ac:chgData name="Katerine Schifino" userId="37bb67de-9fcf-4611-888c-7e5b58184a2a" providerId="ADAL" clId="{D7BBC3CB-68AE-4307-9B5F-60512B429BF0}" dt="2022-03-23T14:14:55.567" v="1705" actId="478"/>
          <ac:grpSpMkLst>
            <pc:docMk/>
            <pc:sldMk cId="180394613" sldId="2146846108"/>
            <ac:grpSpMk id="3" creationId="{23D2C300-E26E-41F8-A6E2-ED401B81624E}"/>
          </ac:grpSpMkLst>
        </pc:grpChg>
        <pc:grpChg chg="add del mod">
          <ac:chgData name="Katerine Schifino" userId="37bb67de-9fcf-4611-888c-7e5b58184a2a" providerId="ADAL" clId="{D7BBC3CB-68AE-4307-9B5F-60512B429BF0}" dt="2022-03-23T14:09:58.381" v="1693" actId="478"/>
          <ac:grpSpMkLst>
            <pc:docMk/>
            <pc:sldMk cId="180394613" sldId="2146846108"/>
            <ac:grpSpMk id="7" creationId="{570EA472-5FDA-431F-9CC9-09ED3FBDD466}"/>
          </ac:grpSpMkLst>
        </pc:grpChg>
        <pc:grpChg chg="add del mod">
          <ac:chgData name="Katerine Schifino" userId="37bb67de-9fcf-4611-888c-7e5b58184a2a" providerId="ADAL" clId="{D7BBC3CB-68AE-4307-9B5F-60512B429BF0}" dt="2022-03-23T15:26:41.578" v="1915" actId="478"/>
          <ac:grpSpMkLst>
            <pc:docMk/>
            <pc:sldMk cId="180394613" sldId="2146846108"/>
            <ac:grpSpMk id="22" creationId="{F09E190E-EB14-41EE-99EA-A47906170B63}"/>
          </ac:grpSpMkLst>
        </pc:grpChg>
        <pc:grpChg chg="add mod ord">
          <ac:chgData name="Katerine Schifino" userId="37bb67de-9fcf-4611-888c-7e5b58184a2a" providerId="ADAL" clId="{D7BBC3CB-68AE-4307-9B5F-60512B429BF0}" dt="2022-03-23T15:42:13.580" v="2081" actId="167"/>
          <ac:grpSpMkLst>
            <pc:docMk/>
            <pc:sldMk cId="180394613" sldId="2146846108"/>
            <ac:grpSpMk id="29" creationId="{C9B60F2C-1DBB-4E69-AFE5-67A9C06B64EB}"/>
          </ac:grpSpMkLst>
        </pc:grpChg>
        <pc:picChg chg="add mod">
          <ac:chgData name="Katerine Schifino" userId="37bb67de-9fcf-4611-888c-7e5b58184a2a" providerId="ADAL" clId="{D7BBC3CB-68AE-4307-9B5F-60512B429BF0}" dt="2022-03-23T14:10:01.839" v="1694" actId="164"/>
          <ac:picMkLst>
            <pc:docMk/>
            <pc:sldMk cId="180394613" sldId="2146846108"/>
            <ac:picMk id="5" creationId="{C331DE7B-5162-461A-A751-EAB41D434506}"/>
          </ac:picMkLst>
        </pc:picChg>
        <pc:picChg chg="add mod">
          <ac:chgData name="Katerine Schifino" userId="37bb67de-9fcf-4611-888c-7e5b58184a2a" providerId="ADAL" clId="{D7BBC3CB-68AE-4307-9B5F-60512B429BF0}" dt="2022-03-23T14:10:01.839" v="1694" actId="164"/>
          <ac:picMkLst>
            <pc:docMk/>
            <pc:sldMk cId="180394613" sldId="2146846108"/>
            <ac:picMk id="10" creationId="{233D8302-4C0A-44B8-812B-C152B6AF8C8F}"/>
          </ac:picMkLst>
        </pc:picChg>
        <pc:picChg chg="add mod">
          <ac:chgData name="Katerine Schifino" userId="37bb67de-9fcf-4611-888c-7e5b58184a2a" providerId="ADAL" clId="{D7BBC3CB-68AE-4307-9B5F-60512B429BF0}" dt="2022-03-23T14:10:01.839" v="1694" actId="164"/>
          <ac:picMkLst>
            <pc:docMk/>
            <pc:sldMk cId="180394613" sldId="2146846108"/>
            <ac:picMk id="11" creationId="{399247C5-18AE-4071-BFEF-545FCA279A08}"/>
          </ac:picMkLst>
        </pc:picChg>
        <pc:picChg chg="add mod">
          <ac:chgData name="Katerine Schifino" userId="37bb67de-9fcf-4611-888c-7e5b58184a2a" providerId="ADAL" clId="{D7BBC3CB-68AE-4307-9B5F-60512B429BF0}" dt="2022-03-23T14:10:01.839" v="1694" actId="164"/>
          <ac:picMkLst>
            <pc:docMk/>
            <pc:sldMk cId="180394613" sldId="2146846108"/>
            <ac:picMk id="12" creationId="{7D37ABA2-AE63-41E9-873C-A6C71E290D96}"/>
          </ac:picMkLst>
        </pc:picChg>
        <pc:picChg chg="add mod">
          <ac:chgData name="Katerine Schifino" userId="37bb67de-9fcf-4611-888c-7e5b58184a2a" providerId="ADAL" clId="{D7BBC3CB-68AE-4307-9B5F-60512B429BF0}" dt="2022-03-23T15:28:11.106" v="1947" actId="164"/>
          <ac:picMkLst>
            <pc:docMk/>
            <pc:sldMk cId="180394613" sldId="2146846108"/>
            <ac:picMk id="18" creationId="{2ADCFA31-3461-47E5-A498-BD44528403F6}"/>
          </ac:picMkLst>
        </pc:picChg>
      </pc:sldChg>
      <pc:sldChg chg="add del mod modClrScheme chgLayout">
        <pc:chgData name="Katerine Schifino" userId="37bb67de-9fcf-4611-888c-7e5b58184a2a" providerId="ADAL" clId="{D7BBC3CB-68AE-4307-9B5F-60512B429BF0}" dt="2022-03-23T14:17:01.238" v="1706" actId="2696"/>
        <pc:sldMkLst>
          <pc:docMk/>
          <pc:sldMk cId="2030110827" sldId="2146846109"/>
        </pc:sldMkLst>
      </pc:sldChg>
      <pc:sldChg chg="add del">
        <pc:chgData name="Katerine Schifino" userId="37bb67de-9fcf-4611-888c-7e5b58184a2a" providerId="ADAL" clId="{D7BBC3CB-68AE-4307-9B5F-60512B429BF0}" dt="2022-03-23T21:01:14.893" v="4892" actId="2696"/>
        <pc:sldMkLst>
          <pc:docMk/>
          <pc:sldMk cId="2376429038" sldId="2146846109"/>
        </pc:sldMkLst>
      </pc:sldChg>
      <pc:sldChg chg="del">
        <pc:chgData name="Katerine Schifino" userId="37bb67de-9fcf-4611-888c-7e5b58184a2a" providerId="ADAL" clId="{D7BBC3CB-68AE-4307-9B5F-60512B429BF0}" dt="2022-03-22T19:32:42.001" v="329" actId="47"/>
        <pc:sldMkLst>
          <pc:docMk/>
          <pc:sldMk cId="1006897491" sldId="2146846110"/>
        </pc:sldMkLst>
      </pc:sldChg>
      <pc:sldChg chg="del">
        <pc:chgData name="Katerine Schifino" userId="37bb67de-9fcf-4611-888c-7e5b58184a2a" providerId="ADAL" clId="{D7BBC3CB-68AE-4307-9B5F-60512B429BF0}" dt="2022-03-22T19:32:41.689" v="327" actId="47"/>
        <pc:sldMkLst>
          <pc:docMk/>
          <pc:sldMk cId="3104619810" sldId="2146846111"/>
        </pc:sldMkLst>
      </pc:sldChg>
      <pc:sldChg chg="addSp delSp modSp add mod modClrScheme chgLayout">
        <pc:chgData name="Katerine Schifino" userId="37bb67de-9fcf-4611-888c-7e5b58184a2a" providerId="ADAL" clId="{D7BBC3CB-68AE-4307-9B5F-60512B429BF0}" dt="2022-03-23T23:51:51.814" v="9533" actId="1076"/>
        <pc:sldMkLst>
          <pc:docMk/>
          <pc:sldMk cId="1307543664" sldId="2146846112"/>
        </pc:sldMkLst>
        <pc:spChg chg="add mod">
          <ac:chgData name="Katerine Schifino" userId="37bb67de-9fcf-4611-888c-7e5b58184a2a" providerId="ADAL" clId="{D7BBC3CB-68AE-4307-9B5F-60512B429BF0}" dt="2022-03-23T20:13:16.050" v="3374" actId="2711"/>
          <ac:spMkLst>
            <pc:docMk/>
            <pc:sldMk cId="1307543664" sldId="2146846112"/>
            <ac:spMk id="2" creationId="{BA8D1744-2C2A-42E6-897D-CA1678250CEE}"/>
          </ac:spMkLst>
        </pc:spChg>
        <pc:spChg chg="add mod">
          <ac:chgData name="Katerine Schifino" userId="37bb67de-9fcf-4611-888c-7e5b58184a2a" providerId="ADAL" clId="{D7BBC3CB-68AE-4307-9B5F-60512B429BF0}" dt="2022-03-23T20:22:00.337" v="3548" actId="790"/>
          <ac:spMkLst>
            <pc:docMk/>
            <pc:sldMk cId="1307543664" sldId="2146846112"/>
            <ac:spMk id="5" creationId="{0F4C1CAE-19B6-4AD0-825E-8BC2C396345E}"/>
          </ac:spMkLst>
        </pc:spChg>
        <pc:spChg chg="mod">
          <ac:chgData name="Katerine Schifino" userId="37bb67de-9fcf-4611-888c-7e5b58184a2a" providerId="ADAL" clId="{D7BBC3CB-68AE-4307-9B5F-60512B429BF0}" dt="2022-03-23T23:51:49.409" v="9532" actId="6549"/>
          <ac:spMkLst>
            <pc:docMk/>
            <pc:sldMk cId="1307543664" sldId="2146846112"/>
            <ac:spMk id="6" creationId="{112348B3-0062-49E3-BCA2-B30B6A7D3857}"/>
          </ac:spMkLst>
        </pc:spChg>
        <pc:spChg chg="add mod">
          <ac:chgData name="Katerine Schifino" userId="37bb67de-9fcf-4611-888c-7e5b58184a2a" providerId="ADAL" clId="{D7BBC3CB-68AE-4307-9B5F-60512B429BF0}" dt="2022-03-23T20:18:34.669" v="3403" actId="20577"/>
          <ac:spMkLst>
            <pc:docMk/>
            <pc:sldMk cId="1307543664" sldId="2146846112"/>
            <ac:spMk id="7" creationId="{E6265E5E-BA69-45E9-8D97-A532AF708C28}"/>
          </ac:spMkLst>
        </pc:spChg>
        <pc:spChg chg="add mod ord">
          <ac:chgData name="Katerine Schifino" userId="37bb67de-9fcf-4611-888c-7e5b58184a2a" providerId="ADAL" clId="{D7BBC3CB-68AE-4307-9B5F-60512B429BF0}" dt="2022-03-23T20:13:16.050" v="3374" actId="2711"/>
          <ac:spMkLst>
            <pc:docMk/>
            <pc:sldMk cId="1307543664" sldId="2146846112"/>
            <ac:spMk id="8" creationId="{967E32A8-5524-49E4-83E0-F33EAF28F0A8}"/>
          </ac:spMkLst>
        </pc:spChg>
        <pc:spChg chg="add mod">
          <ac:chgData name="Katerine Schifino" userId="37bb67de-9fcf-4611-888c-7e5b58184a2a" providerId="ADAL" clId="{D7BBC3CB-68AE-4307-9B5F-60512B429BF0}" dt="2022-03-23T20:13:24.270" v="3375" actId="2711"/>
          <ac:spMkLst>
            <pc:docMk/>
            <pc:sldMk cId="1307543664" sldId="2146846112"/>
            <ac:spMk id="9" creationId="{BBE35009-B541-4F9F-AD08-F0764201CA5B}"/>
          </ac:spMkLst>
        </pc:spChg>
        <pc:spChg chg="add mod">
          <ac:chgData name="Katerine Schifino" userId="37bb67de-9fcf-4611-888c-7e5b58184a2a" providerId="ADAL" clId="{D7BBC3CB-68AE-4307-9B5F-60512B429BF0}" dt="2022-03-23T20:18:42.033" v="3404" actId="20577"/>
          <ac:spMkLst>
            <pc:docMk/>
            <pc:sldMk cId="1307543664" sldId="2146846112"/>
            <ac:spMk id="10" creationId="{BE4895E5-5E27-47E3-AF41-09DBFE19BFCD}"/>
          </ac:spMkLst>
        </pc:spChg>
        <pc:spChg chg="add mod">
          <ac:chgData name="Katerine Schifino" userId="37bb67de-9fcf-4611-888c-7e5b58184a2a" providerId="ADAL" clId="{D7BBC3CB-68AE-4307-9B5F-60512B429BF0}" dt="2022-03-23T16:21:11.039" v="2425" actId="14100"/>
          <ac:spMkLst>
            <pc:docMk/>
            <pc:sldMk cId="1307543664" sldId="2146846112"/>
            <ac:spMk id="11" creationId="{85D66A7E-C86A-4F18-856E-648B7413245D}"/>
          </ac:spMkLst>
        </pc:spChg>
        <pc:spChg chg="add mod ord">
          <ac:chgData name="Katerine Schifino" userId="37bb67de-9fcf-4611-888c-7e5b58184a2a" providerId="ADAL" clId="{D7BBC3CB-68AE-4307-9B5F-60512B429BF0}" dt="2022-03-23T16:20:24.231" v="2417" actId="167"/>
          <ac:spMkLst>
            <pc:docMk/>
            <pc:sldMk cId="1307543664" sldId="2146846112"/>
            <ac:spMk id="12" creationId="{433B70E4-8C5D-4363-B7CB-DF3718BA2CBF}"/>
          </ac:spMkLst>
        </pc:spChg>
        <pc:spChg chg="add del mod">
          <ac:chgData name="Katerine Schifino" userId="37bb67de-9fcf-4611-888c-7e5b58184a2a" providerId="ADAL" clId="{D7BBC3CB-68AE-4307-9B5F-60512B429BF0}" dt="2022-03-23T20:11:11.096" v="3338" actId="478"/>
          <ac:spMkLst>
            <pc:docMk/>
            <pc:sldMk cId="1307543664" sldId="2146846112"/>
            <ac:spMk id="13" creationId="{2AE68CAE-2961-43A1-8FE0-CDD147CA209C}"/>
          </ac:spMkLst>
        </pc:spChg>
        <pc:picChg chg="mod">
          <ac:chgData name="Katerine Schifino" userId="37bb67de-9fcf-4611-888c-7e5b58184a2a" providerId="ADAL" clId="{D7BBC3CB-68AE-4307-9B5F-60512B429BF0}" dt="2022-03-23T23:51:51.814" v="9533" actId="1076"/>
          <ac:picMkLst>
            <pc:docMk/>
            <pc:sldMk cId="1307543664" sldId="2146846112"/>
            <ac:picMk id="5124" creationId="{3AF1774A-4826-4DB3-A8CA-AAEA509EEBC6}"/>
          </ac:picMkLst>
        </pc:picChg>
      </pc:sldChg>
      <pc:sldChg chg="del">
        <pc:chgData name="Katerine Schifino" userId="37bb67de-9fcf-4611-888c-7e5b58184a2a" providerId="ADAL" clId="{D7BBC3CB-68AE-4307-9B5F-60512B429BF0}" dt="2022-03-22T19:32:42.431" v="330" actId="47"/>
        <pc:sldMkLst>
          <pc:docMk/>
          <pc:sldMk cId="2291766909" sldId="2146846113"/>
        </pc:sldMkLst>
      </pc:sldChg>
      <pc:sldChg chg="del">
        <pc:chgData name="Katerine Schifino" userId="37bb67de-9fcf-4611-888c-7e5b58184a2a" providerId="ADAL" clId="{D7BBC3CB-68AE-4307-9B5F-60512B429BF0}" dt="2022-03-22T19:32:42.852" v="332" actId="47"/>
        <pc:sldMkLst>
          <pc:docMk/>
          <pc:sldMk cId="79006163" sldId="2146846114"/>
        </pc:sldMkLst>
      </pc:sldChg>
      <pc:sldChg chg="modSp mod">
        <pc:chgData name="Katerine Schifino" userId="37bb67de-9fcf-4611-888c-7e5b58184a2a" providerId="ADAL" clId="{D7BBC3CB-68AE-4307-9B5F-60512B429BF0}" dt="2022-03-24T14:24:46.172" v="9617"/>
        <pc:sldMkLst>
          <pc:docMk/>
          <pc:sldMk cId="820559724" sldId="2146846115"/>
        </pc:sldMkLst>
        <pc:graphicFrameChg chg="mod modGraphic">
          <ac:chgData name="Katerine Schifino" userId="37bb67de-9fcf-4611-888c-7e5b58184a2a" providerId="ADAL" clId="{D7BBC3CB-68AE-4307-9B5F-60512B429BF0}" dt="2022-03-24T14:24:46.172" v="9617"/>
          <ac:graphicFrameMkLst>
            <pc:docMk/>
            <pc:sldMk cId="820559724" sldId="2146846115"/>
            <ac:graphicFrameMk id="2" creationId="{DABEA71B-03AC-48AD-8E3A-F5B4F36922D0}"/>
          </ac:graphicFrameMkLst>
        </pc:graphicFrameChg>
      </pc:sldChg>
      <pc:sldChg chg="del">
        <pc:chgData name="Katerine Schifino" userId="37bb67de-9fcf-4611-888c-7e5b58184a2a" providerId="ADAL" clId="{D7BBC3CB-68AE-4307-9B5F-60512B429BF0}" dt="2022-03-22T19:32:42.711" v="331" actId="47"/>
        <pc:sldMkLst>
          <pc:docMk/>
          <pc:sldMk cId="404687484" sldId="2146846120"/>
        </pc:sldMkLst>
      </pc:sldChg>
      <pc:sldChg chg="del">
        <pc:chgData name="Katerine Schifino" userId="37bb67de-9fcf-4611-888c-7e5b58184a2a" providerId="ADAL" clId="{D7BBC3CB-68AE-4307-9B5F-60512B429BF0}" dt="2022-03-22T19:23:05.658" v="301" actId="47"/>
        <pc:sldMkLst>
          <pc:docMk/>
          <pc:sldMk cId="3572489315" sldId="2146846121"/>
        </pc:sldMkLst>
      </pc:sldChg>
      <pc:sldChg chg="del">
        <pc:chgData name="Katerine Schifino" userId="37bb67de-9fcf-4611-888c-7e5b58184a2a" providerId="ADAL" clId="{D7BBC3CB-68AE-4307-9B5F-60512B429BF0}" dt="2022-03-22T19:23:06.770" v="302" actId="47"/>
        <pc:sldMkLst>
          <pc:docMk/>
          <pc:sldMk cId="4171986206" sldId="2146846122"/>
        </pc:sldMkLst>
      </pc:sldChg>
      <pc:sldChg chg="addSp delSp modSp mod">
        <pc:chgData name="Katerine Schifino" userId="37bb67de-9fcf-4611-888c-7e5b58184a2a" providerId="ADAL" clId="{D7BBC3CB-68AE-4307-9B5F-60512B429BF0}" dt="2022-03-24T16:04:04.431" v="9643" actId="20577"/>
        <pc:sldMkLst>
          <pc:docMk/>
          <pc:sldMk cId="1527030636" sldId="2146846123"/>
        </pc:sldMkLst>
        <pc:spChg chg="mod">
          <ac:chgData name="Katerine Schifino" userId="37bb67de-9fcf-4611-888c-7e5b58184a2a" providerId="ADAL" clId="{D7BBC3CB-68AE-4307-9B5F-60512B429BF0}" dt="2022-03-24T16:04:04.431" v="9643" actId="20577"/>
          <ac:spMkLst>
            <pc:docMk/>
            <pc:sldMk cId="1527030636" sldId="2146846123"/>
            <ac:spMk id="5" creationId="{627EBBDC-F27E-4C02-853D-FC28E86BB1E0}"/>
          </ac:spMkLst>
        </pc:spChg>
        <pc:picChg chg="del">
          <ac:chgData name="Katerine Schifino" userId="37bb67de-9fcf-4611-888c-7e5b58184a2a" providerId="ADAL" clId="{D7BBC3CB-68AE-4307-9B5F-60512B429BF0}" dt="2022-03-23T18:57:41.650" v="2561" actId="478"/>
          <ac:picMkLst>
            <pc:docMk/>
            <pc:sldMk cId="1527030636" sldId="2146846123"/>
            <ac:picMk id="3" creationId="{5B075F0A-992F-4149-9EF7-5E7270678893}"/>
          </ac:picMkLst>
        </pc:picChg>
        <pc:picChg chg="add del mod">
          <ac:chgData name="Katerine Schifino" userId="37bb67de-9fcf-4611-888c-7e5b58184a2a" providerId="ADAL" clId="{D7BBC3CB-68AE-4307-9B5F-60512B429BF0}" dt="2022-03-23T23:05:18.975" v="8485" actId="478"/>
          <ac:picMkLst>
            <pc:docMk/>
            <pc:sldMk cId="1527030636" sldId="2146846123"/>
            <ac:picMk id="7" creationId="{64D8AF83-B240-415B-BF47-5845074AED8F}"/>
          </ac:picMkLst>
        </pc:picChg>
        <pc:picChg chg="add mod">
          <ac:chgData name="Katerine Schifino" userId="37bb67de-9fcf-4611-888c-7e5b58184a2a" providerId="ADAL" clId="{D7BBC3CB-68AE-4307-9B5F-60512B429BF0}" dt="2022-03-23T23:05:42.117" v="8523" actId="14100"/>
          <ac:picMkLst>
            <pc:docMk/>
            <pc:sldMk cId="1527030636" sldId="2146846123"/>
            <ac:picMk id="9218" creationId="{17E3A287-8464-411D-BB02-E661840AC6DC}"/>
          </ac:picMkLst>
        </pc:picChg>
      </pc:sldChg>
      <pc:sldChg chg="del">
        <pc:chgData name="Katerine Schifino" userId="37bb67de-9fcf-4611-888c-7e5b58184a2a" providerId="ADAL" clId="{D7BBC3CB-68AE-4307-9B5F-60512B429BF0}" dt="2022-03-23T13:33:59.022" v="1136" actId="47"/>
        <pc:sldMkLst>
          <pc:docMk/>
          <pc:sldMk cId="2103968347" sldId="2146846124"/>
        </pc:sldMkLst>
      </pc:sldChg>
      <pc:sldChg chg="del">
        <pc:chgData name="Katerine Schifino" userId="37bb67de-9fcf-4611-888c-7e5b58184a2a" providerId="ADAL" clId="{D7BBC3CB-68AE-4307-9B5F-60512B429BF0}" dt="2022-03-22T19:32:42.996" v="333" actId="47"/>
        <pc:sldMkLst>
          <pc:docMk/>
          <pc:sldMk cId="542179122" sldId="2146846125"/>
        </pc:sldMkLst>
      </pc:sldChg>
      <pc:sldChg chg="modSp add del mod">
        <pc:chgData name="Katerine Schifino" userId="37bb67de-9fcf-4611-888c-7e5b58184a2a" providerId="ADAL" clId="{D7BBC3CB-68AE-4307-9B5F-60512B429BF0}" dt="2022-03-22T19:49:01.982" v="455" actId="47"/>
        <pc:sldMkLst>
          <pc:docMk/>
          <pc:sldMk cId="1377652663" sldId="2146846125"/>
        </pc:sldMkLst>
        <pc:spChg chg="mod">
          <ac:chgData name="Katerine Schifino" userId="37bb67de-9fcf-4611-888c-7e5b58184a2a" providerId="ADAL" clId="{D7BBC3CB-68AE-4307-9B5F-60512B429BF0}" dt="2022-03-22T19:46:28.738" v="351" actId="20577"/>
          <ac:spMkLst>
            <pc:docMk/>
            <pc:sldMk cId="1377652663" sldId="2146846125"/>
            <ac:spMk id="4" creationId="{CD3B507D-B343-498F-97D5-78CBF4589AAB}"/>
          </ac:spMkLst>
        </pc:spChg>
      </pc:sldChg>
      <pc:sldChg chg="modSp add del mod modClrScheme chgLayout">
        <pc:chgData name="Katerine Schifino" userId="37bb67de-9fcf-4611-888c-7e5b58184a2a" providerId="ADAL" clId="{D7BBC3CB-68AE-4307-9B5F-60512B429BF0}" dt="2022-03-23T14:13:33.578" v="1697" actId="47"/>
        <pc:sldMkLst>
          <pc:docMk/>
          <pc:sldMk cId="667133344" sldId="2146846126"/>
        </pc:sldMkLst>
        <pc:spChg chg="mod">
          <ac:chgData name="Katerine Schifino" userId="37bb67de-9fcf-4611-888c-7e5b58184a2a" providerId="ADAL" clId="{D7BBC3CB-68AE-4307-9B5F-60512B429BF0}" dt="2022-03-22T19:49:05.736" v="457" actId="20577"/>
          <ac:spMkLst>
            <pc:docMk/>
            <pc:sldMk cId="667133344" sldId="2146846126"/>
            <ac:spMk id="4" creationId="{CD3B507D-B343-498F-97D5-78CBF4589AAB}"/>
          </ac:spMkLst>
        </pc:spChg>
      </pc:sldChg>
      <pc:sldChg chg="add del mod modClrScheme chgLayout">
        <pc:chgData name="Katerine Schifino" userId="37bb67de-9fcf-4611-888c-7e5b58184a2a" providerId="ADAL" clId="{D7BBC3CB-68AE-4307-9B5F-60512B429BF0}" dt="2022-03-23T14:17:01.238" v="1706" actId="2696"/>
        <pc:sldMkLst>
          <pc:docMk/>
          <pc:sldMk cId="73833976" sldId="2146846127"/>
        </pc:sldMkLst>
      </pc:sldChg>
      <pc:sldChg chg="add del">
        <pc:chgData name="Katerine Schifino" userId="37bb67de-9fcf-4611-888c-7e5b58184a2a" providerId="ADAL" clId="{D7BBC3CB-68AE-4307-9B5F-60512B429BF0}" dt="2022-03-23T21:01:14.893" v="4892" actId="2696"/>
        <pc:sldMkLst>
          <pc:docMk/>
          <pc:sldMk cId="1452062836" sldId="2146846127"/>
        </pc:sldMkLst>
      </pc:sldChg>
      <pc:sldChg chg="delSp modSp add del mod ord modClrScheme delAnim chgLayout">
        <pc:chgData name="Katerine Schifino" userId="37bb67de-9fcf-4611-888c-7e5b58184a2a" providerId="ADAL" clId="{D7BBC3CB-68AE-4307-9B5F-60512B429BF0}" dt="2022-03-23T21:01:14.893" v="4892" actId="2696"/>
        <pc:sldMkLst>
          <pc:docMk/>
          <pc:sldMk cId="3591051071" sldId="2146846128"/>
        </pc:sldMkLst>
        <pc:spChg chg="mod">
          <ac:chgData name="Katerine Schifino" userId="37bb67de-9fcf-4611-888c-7e5b58184a2a" providerId="ADAL" clId="{D7BBC3CB-68AE-4307-9B5F-60512B429BF0}" dt="2022-03-23T14:22:02.865" v="1759" actId="20577"/>
          <ac:spMkLst>
            <pc:docMk/>
            <pc:sldMk cId="3591051071" sldId="2146846128"/>
            <ac:spMk id="2" creationId="{D6023ED0-7B56-4284-A0C2-3637347361D2}"/>
          </ac:spMkLst>
        </pc:spChg>
        <pc:spChg chg="del">
          <ac:chgData name="Katerine Schifino" userId="37bb67de-9fcf-4611-888c-7e5b58184a2a" providerId="ADAL" clId="{D7BBC3CB-68AE-4307-9B5F-60512B429BF0}" dt="2022-03-23T13:16:21.870" v="479" actId="478"/>
          <ac:spMkLst>
            <pc:docMk/>
            <pc:sldMk cId="3591051071" sldId="2146846128"/>
            <ac:spMk id="6" creationId="{84AB6011-3C49-4817-B444-68EF20398F2D}"/>
          </ac:spMkLst>
        </pc:spChg>
        <pc:spChg chg="del">
          <ac:chgData name="Katerine Schifino" userId="37bb67de-9fcf-4611-888c-7e5b58184a2a" providerId="ADAL" clId="{D7BBC3CB-68AE-4307-9B5F-60512B429BF0}" dt="2022-03-23T13:16:21.870" v="479" actId="478"/>
          <ac:spMkLst>
            <pc:docMk/>
            <pc:sldMk cId="3591051071" sldId="2146846128"/>
            <ac:spMk id="13" creationId="{569CA870-1CD5-45B1-A013-B3786E164D90}"/>
          </ac:spMkLst>
        </pc:spChg>
        <pc:spChg chg="del">
          <ac:chgData name="Katerine Schifino" userId="37bb67de-9fcf-4611-888c-7e5b58184a2a" providerId="ADAL" clId="{D7BBC3CB-68AE-4307-9B5F-60512B429BF0}" dt="2022-03-23T13:16:21.870" v="479" actId="478"/>
          <ac:spMkLst>
            <pc:docMk/>
            <pc:sldMk cId="3591051071" sldId="2146846128"/>
            <ac:spMk id="14" creationId="{1F37DF61-B666-4446-9AE9-55C4F3220A33}"/>
          </ac:spMkLst>
        </pc:spChg>
        <pc:spChg chg="del">
          <ac:chgData name="Katerine Schifino" userId="37bb67de-9fcf-4611-888c-7e5b58184a2a" providerId="ADAL" clId="{D7BBC3CB-68AE-4307-9B5F-60512B429BF0}" dt="2022-03-23T13:16:25.432" v="481" actId="478"/>
          <ac:spMkLst>
            <pc:docMk/>
            <pc:sldMk cId="3591051071" sldId="2146846128"/>
            <ac:spMk id="15" creationId="{2D0C921B-99E8-4859-AD98-7EBA25C55F19}"/>
          </ac:spMkLst>
        </pc:spChg>
        <pc:spChg chg="del">
          <ac:chgData name="Katerine Schifino" userId="37bb67de-9fcf-4611-888c-7e5b58184a2a" providerId="ADAL" clId="{D7BBC3CB-68AE-4307-9B5F-60512B429BF0}" dt="2022-03-23T13:16:25.432" v="481" actId="478"/>
          <ac:spMkLst>
            <pc:docMk/>
            <pc:sldMk cId="3591051071" sldId="2146846128"/>
            <ac:spMk id="16" creationId="{E8535E27-E885-4E57-835A-EBE70E1E4687}"/>
          </ac:spMkLst>
        </pc:spChg>
        <pc:grpChg chg="del">
          <ac:chgData name="Katerine Schifino" userId="37bb67de-9fcf-4611-888c-7e5b58184a2a" providerId="ADAL" clId="{D7BBC3CB-68AE-4307-9B5F-60512B429BF0}" dt="2022-03-23T13:16:28.489" v="482" actId="478"/>
          <ac:grpSpMkLst>
            <pc:docMk/>
            <pc:sldMk cId="3591051071" sldId="2146846128"/>
            <ac:grpSpMk id="7" creationId="{570EA472-5FDA-431F-9CC9-09ED3FBDD466}"/>
          </ac:grpSpMkLst>
        </pc:grpChg>
        <pc:picChg chg="del">
          <ac:chgData name="Katerine Schifino" userId="37bb67de-9fcf-4611-888c-7e5b58184a2a" providerId="ADAL" clId="{D7BBC3CB-68AE-4307-9B5F-60512B429BF0}" dt="2022-03-23T13:16:21.870" v="479" actId="478"/>
          <ac:picMkLst>
            <pc:docMk/>
            <pc:sldMk cId="3591051071" sldId="2146846128"/>
            <ac:picMk id="5" creationId="{C331DE7B-5162-461A-A751-EAB41D434506}"/>
          </ac:picMkLst>
        </pc:picChg>
        <pc:picChg chg="del">
          <ac:chgData name="Katerine Schifino" userId="37bb67de-9fcf-4611-888c-7e5b58184a2a" providerId="ADAL" clId="{D7BBC3CB-68AE-4307-9B5F-60512B429BF0}" dt="2022-03-23T13:16:21.870" v="479" actId="478"/>
          <ac:picMkLst>
            <pc:docMk/>
            <pc:sldMk cId="3591051071" sldId="2146846128"/>
            <ac:picMk id="10" creationId="{233D8302-4C0A-44B8-812B-C152B6AF8C8F}"/>
          </ac:picMkLst>
        </pc:picChg>
        <pc:picChg chg="del">
          <ac:chgData name="Katerine Schifino" userId="37bb67de-9fcf-4611-888c-7e5b58184a2a" providerId="ADAL" clId="{D7BBC3CB-68AE-4307-9B5F-60512B429BF0}" dt="2022-03-23T13:16:23.247" v="480" actId="478"/>
          <ac:picMkLst>
            <pc:docMk/>
            <pc:sldMk cId="3591051071" sldId="2146846128"/>
            <ac:picMk id="11" creationId="{399247C5-18AE-4071-BFEF-545FCA279A08}"/>
          </ac:picMkLst>
        </pc:picChg>
        <pc:picChg chg="del">
          <ac:chgData name="Katerine Schifino" userId="37bb67de-9fcf-4611-888c-7e5b58184a2a" providerId="ADAL" clId="{D7BBC3CB-68AE-4307-9B5F-60512B429BF0}" dt="2022-03-23T13:16:25.432" v="481" actId="478"/>
          <ac:picMkLst>
            <pc:docMk/>
            <pc:sldMk cId="3591051071" sldId="2146846128"/>
            <ac:picMk id="12" creationId="{7D37ABA2-AE63-41E9-873C-A6C71E290D96}"/>
          </ac:picMkLst>
        </pc:picChg>
      </pc:sldChg>
      <pc:sldChg chg="addSp delSp modSp add mod ord modClrScheme modShow chgLayout modNotesTx">
        <pc:chgData name="Katerine Schifino" userId="37bb67de-9fcf-4611-888c-7e5b58184a2a" providerId="ADAL" clId="{D7BBC3CB-68AE-4307-9B5F-60512B429BF0}" dt="2022-03-23T23:53:48.595" v="9543" actId="729"/>
        <pc:sldMkLst>
          <pc:docMk/>
          <pc:sldMk cId="911348781" sldId="2146846129"/>
        </pc:sldMkLst>
        <pc:spChg chg="del">
          <ac:chgData name="Katerine Schifino" userId="37bb67de-9fcf-4611-888c-7e5b58184a2a" providerId="ADAL" clId="{D7BBC3CB-68AE-4307-9B5F-60512B429BF0}" dt="2022-03-23T21:17:55.131" v="5136" actId="478"/>
          <ac:spMkLst>
            <pc:docMk/>
            <pc:sldMk cId="911348781" sldId="2146846129"/>
            <ac:spMk id="3" creationId="{F37952A8-26A7-4620-BB6E-749B2F7FE437}"/>
          </ac:spMkLst>
        </pc:spChg>
        <pc:spChg chg="mod">
          <ac:chgData name="Katerine Schifino" userId="37bb67de-9fcf-4611-888c-7e5b58184a2a" providerId="ADAL" clId="{D7BBC3CB-68AE-4307-9B5F-60512B429BF0}" dt="2022-03-23T23:35:42.048" v="8961" actId="20577"/>
          <ac:spMkLst>
            <pc:docMk/>
            <pc:sldMk cId="911348781" sldId="2146846129"/>
            <ac:spMk id="4" creationId="{CD3B507D-B343-498F-97D5-78CBF4589AAB}"/>
          </ac:spMkLst>
        </pc:spChg>
        <pc:spChg chg="add mod ord">
          <ac:chgData name="Katerine Schifino" userId="37bb67de-9fcf-4611-888c-7e5b58184a2a" providerId="ADAL" clId="{D7BBC3CB-68AE-4307-9B5F-60512B429BF0}" dt="2022-03-23T22:54:37.793" v="8370" actId="14100"/>
          <ac:spMkLst>
            <pc:docMk/>
            <pc:sldMk cId="911348781" sldId="2146846129"/>
            <ac:spMk id="14" creationId="{E33DB751-E0DF-4B51-9AEE-34DF6967EB63}"/>
          </ac:spMkLst>
        </pc:spChg>
        <pc:spChg chg="add del">
          <ac:chgData name="Katerine Schifino" userId="37bb67de-9fcf-4611-888c-7e5b58184a2a" providerId="ADAL" clId="{D7BBC3CB-68AE-4307-9B5F-60512B429BF0}" dt="2022-03-23T22:13:45.104" v="7270" actId="478"/>
          <ac:spMkLst>
            <pc:docMk/>
            <pc:sldMk cId="911348781" sldId="2146846129"/>
            <ac:spMk id="25" creationId="{24341F6B-5D0C-46F4-ADC4-9D79E2766424}"/>
          </ac:spMkLst>
        </pc:spChg>
        <pc:spChg chg="add del">
          <ac:chgData name="Katerine Schifino" userId="37bb67de-9fcf-4611-888c-7e5b58184a2a" providerId="ADAL" clId="{D7BBC3CB-68AE-4307-9B5F-60512B429BF0}" dt="2022-03-23T22:13:58.227" v="7272" actId="478"/>
          <ac:spMkLst>
            <pc:docMk/>
            <pc:sldMk cId="911348781" sldId="2146846129"/>
            <ac:spMk id="26" creationId="{83863FF7-C74D-4169-B769-35665315391F}"/>
          </ac:spMkLst>
        </pc:spChg>
        <pc:spChg chg="add del">
          <ac:chgData name="Katerine Schifino" userId="37bb67de-9fcf-4611-888c-7e5b58184a2a" providerId="ADAL" clId="{D7BBC3CB-68AE-4307-9B5F-60512B429BF0}" dt="2022-03-23T22:14:09.085" v="7274" actId="478"/>
          <ac:spMkLst>
            <pc:docMk/>
            <pc:sldMk cId="911348781" sldId="2146846129"/>
            <ac:spMk id="27" creationId="{09181627-CEBA-4417-97C0-DB9BB6410A42}"/>
          </ac:spMkLst>
        </pc:spChg>
        <pc:spChg chg="add mod topLvl">
          <ac:chgData name="Katerine Schifino" userId="37bb67de-9fcf-4611-888c-7e5b58184a2a" providerId="ADAL" clId="{D7BBC3CB-68AE-4307-9B5F-60512B429BF0}" dt="2022-03-23T22:52:12.332" v="8349" actId="1076"/>
          <ac:spMkLst>
            <pc:docMk/>
            <pc:sldMk cId="911348781" sldId="2146846129"/>
            <ac:spMk id="28" creationId="{AF8CCCE0-043B-4F69-836E-B3DF7C83CE2B}"/>
          </ac:spMkLst>
        </pc:spChg>
        <pc:spChg chg="add mod">
          <ac:chgData name="Katerine Schifino" userId="37bb67de-9fcf-4611-888c-7e5b58184a2a" providerId="ADAL" clId="{D7BBC3CB-68AE-4307-9B5F-60512B429BF0}" dt="2022-03-23T22:52:12.332" v="8349" actId="1076"/>
          <ac:spMkLst>
            <pc:docMk/>
            <pc:sldMk cId="911348781" sldId="2146846129"/>
            <ac:spMk id="30" creationId="{C99D0223-C888-4B36-9C0C-13E9B12C5582}"/>
          </ac:spMkLst>
        </pc:spChg>
        <pc:spChg chg="del">
          <ac:chgData name="Katerine Schifino" userId="37bb67de-9fcf-4611-888c-7e5b58184a2a" providerId="ADAL" clId="{D7BBC3CB-68AE-4307-9B5F-60512B429BF0}" dt="2022-03-23T21:17:55.131" v="5136" actId="478"/>
          <ac:spMkLst>
            <pc:docMk/>
            <pc:sldMk cId="911348781" sldId="2146846129"/>
            <ac:spMk id="55" creationId="{693BE602-C9B4-412A-8447-FDCBB931768E}"/>
          </ac:spMkLst>
        </pc:spChg>
        <pc:spChg chg="mod topLvl">
          <ac:chgData name="Katerine Schifino" userId="37bb67de-9fcf-4611-888c-7e5b58184a2a" providerId="ADAL" clId="{D7BBC3CB-68AE-4307-9B5F-60512B429BF0}" dt="2022-03-23T22:52:12.332" v="8349" actId="1076"/>
          <ac:spMkLst>
            <pc:docMk/>
            <pc:sldMk cId="911348781" sldId="2146846129"/>
            <ac:spMk id="64" creationId="{A3CA8339-8093-4E2C-A642-1E213D01F1B1}"/>
          </ac:spMkLst>
        </pc:spChg>
        <pc:spChg chg="mod topLvl">
          <ac:chgData name="Katerine Schifino" userId="37bb67de-9fcf-4611-888c-7e5b58184a2a" providerId="ADAL" clId="{D7BBC3CB-68AE-4307-9B5F-60512B429BF0}" dt="2022-03-23T22:52:12.332" v="8349" actId="1076"/>
          <ac:spMkLst>
            <pc:docMk/>
            <pc:sldMk cId="911348781" sldId="2146846129"/>
            <ac:spMk id="65" creationId="{96E1A670-61F2-41AA-9FD8-9F65CB1B4866}"/>
          </ac:spMkLst>
        </pc:spChg>
        <pc:spChg chg="mod topLvl">
          <ac:chgData name="Katerine Schifino" userId="37bb67de-9fcf-4611-888c-7e5b58184a2a" providerId="ADAL" clId="{D7BBC3CB-68AE-4307-9B5F-60512B429BF0}" dt="2022-03-23T22:52:12.332" v="8349" actId="1076"/>
          <ac:spMkLst>
            <pc:docMk/>
            <pc:sldMk cId="911348781" sldId="2146846129"/>
            <ac:spMk id="66" creationId="{9280DEA7-14D7-4415-8BD3-1E1F152936B5}"/>
          </ac:spMkLst>
        </pc:spChg>
        <pc:spChg chg="mod topLvl">
          <ac:chgData name="Katerine Schifino" userId="37bb67de-9fcf-4611-888c-7e5b58184a2a" providerId="ADAL" clId="{D7BBC3CB-68AE-4307-9B5F-60512B429BF0}" dt="2022-03-23T22:52:12.332" v="8349" actId="1076"/>
          <ac:spMkLst>
            <pc:docMk/>
            <pc:sldMk cId="911348781" sldId="2146846129"/>
            <ac:spMk id="67" creationId="{4936C53E-481D-489E-BF6C-A896FF61C731}"/>
          </ac:spMkLst>
        </pc:spChg>
        <pc:spChg chg="del mod">
          <ac:chgData name="Katerine Schifino" userId="37bb67de-9fcf-4611-888c-7e5b58184a2a" providerId="ADAL" clId="{D7BBC3CB-68AE-4307-9B5F-60512B429BF0}" dt="2022-03-23T21:54:25.377" v="6109" actId="478"/>
          <ac:spMkLst>
            <pc:docMk/>
            <pc:sldMk cId="911348781" sldId="2146846129"/>
            <ac:spMk id="68" creationId="{C92BD40F-9AB5-43A8-A0B0-7B1ED4CA9A8E}"/>
          </ac:spMkLst>
        </pc:spChg>
        <pc:spChg chg="mod topLvl">
          <ac:chgData name="Katerine Schifino" userId="37bb67de-9fcf-4611-888c-7e5b58184a2a" providerId="ADAL" clId="{D7BBC3CB-68AE-4307-9B5F-60512B429BF0}" dt="2022-03-23T22:52:12.332" v="8349" actId="1076"/>
          <ac:spMkLst>
            <pc:docMk/>
            <pc:sldMk cId="911348781" sldId="2146846129"/>
            <ac:spMk id="69" creationId="{F91FCAF1-7181-4E07-9488-21752B395472}"/>
          </ac:spMkLst>
        </pc:spChg>
        <pc:spChg chg="del mod">
          <ac:chgData name="Katerine Schifino" userId="37bb67de-9fcf-4611-888c-7e5b58184a2a" providerId="ADAL" clId="{D7BBC3CB-68AE-4307-9B5F-60512B429BF0}" dt="2022-03-23T21:52:09.714" v="5973" actId="478"/>
          <ac:spMkLst>
            <pc:docMk/>
            <pc:sldMk cId="911348781" sldId="2146846129"/>
            <ac:spMk id="70" creationId="{10CD1923-F098-4B45-80B9-68A657E83417}"/>
          </ac:spMkLst>
        </pc:spChg>
        <pc:spChg chg="del mod">
          <ac:chgData name="Katerine Schifino" userId="37bb67de-9fcf-4611-888c-7e5b58184a2a" providerId="ADAL" clId="{D7BBC3CB-68AE-4307-9B5F-60512B429BF0}" dt="2022-03-23T21:52:06.185" v="5972" actId="478"/>
          <ac:spMkLst>
            <pc:docMk/>
            <pc:sldMk cId="911348781" sldId="2146846129"/>
            <ac:spMk id="71" creationId="{78EB6F97-8553-4F1B-BC52-9A68BB4E1186}"/>
          </ac:spMkLst>
        </pc:spChg>
        <pc:spChg chg="mod topLvl">
          <ac:chgData name="Katerine Schifino" userId="37bb67de-9fcf-4611-888c-7e5b58184a2a" providerId="ADAL" clId="{D7BBC3CB-68AE-4307-9B5F-60512B429BF0}" dt="2022-03-23T22:52:12.332" v="8349" actId="1076"/>
          <ac:spMkLst>
            <pc:docMk/>
            <pc:sldMk cId="911348781" sldId="2146846129"/>
            <ac:spMk id="75" creationId="{8C546ED1-5ABF-49FC-9CFF-540A73D4FA3D}"/>
          </ac:spMkLst>
        </pc:spChg>
        <pc:spChg chg="mod topLvl">
          <ac:chgData name="Katerine Schifino" userId="37bb67de-9fcf-4611-888c-7e5b58184a2a" providerId="ADAL" clId="{D7BBC3CB-68AE-4307-9B5F-60512B429BF0}" dt="2022-03-23T22:55:48.370" v="8393"/>
          <ac:spMkLst>
            <pc:docMk/>
            <pc:sldMk cId="911348781" sldId="2146846129"/>
            <ac:spMk id="76" creationId="{389FE332-3A8D-4F87-AC68-02D777B0FF8E}"/>
          </ac:spMkLst>
        </pc:spChg>
        <pc:spChg chg="mod topLvl">
          <ac:chgData name="Katerine Schifino" userId="37bb67de-9fcf-4611-888c-7e5b58184a2a" providerId="ADAL" clId="{D7BBC3CB-68AE-4307-9B5F-60512B429BF0}" dt="2022-03-23T22:55:28.353" v="8392" actId="20577"/>
          <ac:spMkLst>
            <pc:docMk/>
            <pc:sldMk cId="911348781" sldId="2146846129"/>
            <ac:spMk id="77" creationId="{7624D93A-2E4F-4C1F-BC2A-A56D269ADF03}"/>
          </ac:spMkLst>
        </pc:spChg>
        <pc:spChg chg="mod topLvl">
          <ac:chgData name="Katerine Schifino" userId="37bb67de-9fcf-4611-888c-7e5b58184a2a" providerId="ADAL" clId="{D7BBC3CB-68AE-4307-9B5F-60512B429BF0}" dt="2022-03-23T22:52:12.332" v="8349" actId="1076"/>
          <ac:spMkLst>
            <pc:docMk/>
            <pc:sldMk cId="911348781" sldId="2146846129"/>
            <ac:spMk id="78" creationId="{1420915E-09F9-48A9-9DB8-0D463163BE0D}"/>
          </ac:spMkLst>
        </pc:spChg>
        <pc:spChg chg="del mod">
          <ac:chgData name="Katerine Schifino" userId="37bb67de-9fcf-4611-888c-7e5b58184a2a" providerId="ADAL" clId="{D7BBC3CB-68AE-4307-9B5F-60512B429BF0}" dt="2022-03-23T21:54:25.377" v="6109" actId="478"/>
          <ac:spMkLst>
            <pc:docMk/>
            <pc:sldMk cId="911348781" sldId="2146846129"/>
            <ac:spMk id="79" creationId="{67B34822-B096-4BC6-BB83-9E1BFB578235}"/>
          </ac:spMkLst>
        </pc:spChg>
        <pc:spChg chg="del mod">
          <ac:chgData name="Katerine Schifino" userId="37bb67de-9fcf-4611-888c-7e5b58184a2a" providerId="ADAL" clId="{D7BBC3CB-68AE-4307-9B5F-60512B429BF0}" dt="2022-03-23T21:52:09.714" v="5973" actId="478"/>
          <ac:spMkLst>
            <pc:docMk/>
            <pc:sldMk cId="911348781" sldId="2146846129"/>
            <ac:spMk id="80" creationId="{078E3C0D-FFDA-4B3F-BB8F-14F18BE69F5D}"/>
          </ac:spMkLst>
        </pc:spChg>
        <pc:spChg chg="del mod">
          <ac:chgData name="Katerine Schifino" userId="37bb67de-9fcf-4611-888c-7e5b58184a2a" providerId="ADAL" clId="{D7BBC3CB-68AE-4307-9B5F-60512B429BF0}" dt="2022-03-23T21:52:06.185" v="5972" actId="478"/>
          <ac:spMkLst>
            <pc:docMk/>
            <pc:sldMk cId="911348781" sldId="2146846129"/>
            <ac:spMk id="81" creationId="{18A1919D-A35C-4059-B2B3-C3A4982C815B}"/>
          </ac:spMkLst>
        </pc:spChg>
        <pc:spChg chg="mod topLvl">
          <ac:chgData name="Katerine Schifino" userId="37bb67de-9fcf-4611-888c-7e5b58184a2a" providerId="ADAL" clId="{D7BBC3CB-68AE-4307-9B5F-60512B429BF0}" dt="2022-03-23T22:52:12.332" v="8349" actId="1076"/>
          <ac:spMkLst>
            <pc:docMk/>
            <pc:sldMk cId="911348781" sldId="2146846129"/>
            <ac:spMk id="82" creationId="{C58E3A13-7588-41E2-8534-9AC4A2F449E4}"/>
          </ac:spMkLst>
        </pc:spChg>
        <pc:spChg chg="mod topLvl">
          <ac:chgData name="Katerine Schifino" userId="37bb67de-9fcf-4611-888c-7e5b58184a2a" providerId="ADAL" clId="{D7BBC3CB-68AE-4307-9B5F-60512B429BF0}" dt="2022-03-23T22:52:12.332" v="8349" actId="1076"/>
          <ac:spMkLst>
            <pc:docMk/>
            <pc:sldMk cId="911348781" sldId="2146846129"/>
            <ac:spMk id="83" creationId="{D4A51786-E361-4832-903A-8E1178E3424F}"/>
          </ac:spMkLst>
        </pc:spChg>
        <pc:spChg chg="mod topLvl">
          <ac:chgData name="Katerine Schifino" userId="37bb67de-9fcf-4611-888c-7e5b58184a2a" providerId="ADAL" clId="{D7BBC3CB-68AE-4307-9B5F-60512B429BF0}" dt="2022-03-23T22:52:12.332" v="8349" actId="1076"/>
          <ac:spMkLst>
            <pc:docMk/>
            <pc:sldMk cId="911348781" sldId="2146846129"/>
            <ac:spMk id="84" creationId="{0000E044-5557-43E0-B06C-17136B0E0DC7}"/>
          </ac:spMkLst>
        </pc:spChg>
        <pc:spChg chg="mod topLvl">
          <ac:chgData name="Katerine Schifino" userId="37bb67de-9fcf-4611-888c-7e5b58184a2a" providerId="ADAL" clId="{D7BBC3CB-68AE-4307-9B5F-60512B429BF0}" dt="2022-03-23T22:52:12.332" v="8349" actId="1076"/>
          <ac:spMkLst>
            <pc:docMk/>
            <pc:sldMk cId="911348781" sldId="2146846129"/>
            <ac:spMk id="85" creationId="{77B3886F-1125-40BF-9902-387B4DAA1062}"/>
          </ac:spMkLst>
        </pc:spChg>
        <pc:spChg chg="del mod">
          <ac:chgData name="Katerine Schifino" userId="37bb67de-9fcf-4611-888c-7e5b58184a2a" providerId="ADAL" clId="{D7BBC3CB-68AE-4307-9B5F-60512B429BF0}" dt="2022-03-23T21:54:25.377" v="6109" actId="478"/>
          <ac:spMkLst>
            <pc:docMk/>
            <pc:sldMk cId="911348781" sldId="2146846129"/>
            <ac:spMk id="86" creationId="{56586C76-C7B6-40D0-B946-F208A5E09B2C}"/>
          </ac:spMkLst>
        </pc:spChg>
        <pc:spChg chg="del mod">
          <ac:chgData name="Katerine Schifino" userId="37bb67de-9fcf-4611-888c-7e5b58184a2a" providerId="ADAL" clId="{D7BBC3CB-68AE-4307-9B5F-60512B429BF0}" dt="2022-03-23T21:52:09.714" v="5973" actId="478"/>
          <ac:spMkLst>
            <pc:docMk/>
            <pc:sldMk cId="911348781" sldId="2146846129"/>
            <ac:spMk id="87" creationId="{F8DA1379-05F7-4403-A8D4-1456233F3B03}"/>
          </ac:spMkLst>
        </pc:spChg>
        <pc:spChg chg="del mod">
          <ac:chgData name="Katerine Schifino" userId="37bb67de-9fcf-4611-888c-7e5b58184a2a" providerId="ADAL" clId="{D7BBC3CB-68AE-4307-9B5F-60512B429BF0}" dt="2022-03-23T21:52:06.185" v="5972" actId="478"/>
          <ac:spMkLst>
            <pc:docMk/>
            <pc:sldMk cId="911348781" sldId="2146846129"/>
            <ac:spMk id="88" creationId="{AD9A92D7-1B9B-47FB-B8B1-6CED5C5CCB04}"/>
          </ac:spMkLst>
        </pc:spChg>
        <pc:spChg chg="mod topLvl">
          <ac:chgData name="Katerine Schifino" userId="37bb67de-9fcf-4611-888c-7e5b58184a2a" providerId="ADAL" clId="{D7BBC3CB-68AE-4307-9B5F-60512B429BF0}" dt="2022-03-23T22:52:12.332" v="8349" actId="1076"/>
          <ac:spMkLst>
            <pc:docMk/>
            <pc:sldMk cId="911348781" sldId="2146846129"/>
            <ac:spMk id="89" creationId="{10E35607-6D0D-480F-B074-4C5AF2F42B37}"/>
          </ac:spMkLst>
        </pc:spChg>
        <pc:spChg chg="mod topLvl">
          <ac:chgData name="Katerine Schifino" userId="37bb67de-9fcf-4611-888c-7e5b58184a2a" providerId="ADAL" clId="{D7BBC3CB-68AE-4307-9B5F-60512B429BF0}" dt="2022-03-23T22:52:12.332" v="8349" actId="1076"/>
          <ac:spMkLst>
            <pc:docMk/>
            <pc:sldMk cId="911348781" sldId="2146846129"/>
            <ac:spMk id="90" creationId="{BAA10466-78B5-46F7-A319-8B527AF2809B}"/>
          </ac:spMkLst>
        </pc:spChg>
        <pc:spChg chg="mod topLvl">
          <ac:chgData name="Katerine Schifino" userId="37bb67de-9fcf-4611-888c-7e5b58184a2a" providerId="ADAL" clId="{D7BBC3CB-68AE-4307-9B5F-60512B429BF0}" dt="2022-03-23T22:52:12.332" v="8349" actId="1076"/>
          <ac:spMkLst>
            <pc:docMk/>
            <pc:sldMk cId="911348781" sldId="2146846129"/>
            <ac:spMk id="91" creationId="{25E41925-4F7C-4EA0-93A9-CF2C15F76C90}"/>
          </ac:spMkLst>
        </pc:spChg>
        <pc:spChg chg="mod topLvl">
          <ac:chgData name="Katerine Schifino" userId="37bb67de-9fcf-4611-888c-7e5b58184a2a" providerId="ADAL" clId="{D7BBC3CB-68AE-4307-9B5F-60512B429BF0}" dt="2022-03-23T22:52:12.332" v="8349" actId="1076"/>
          <ac:spMkLst>
            <pc:docMk/>
            <pc:sldMk cId="911348781" sldId="2146846129"/>
            <ac:spMk id="92" creationId="{3D726B6D-0509-46E6-B342-8B7B96B15069}"/>
          </ac:spMkLst>
        </pc:spChg>
        <pc:spChg chg="del mod">
          <ac:chgData name="Katerine Schifino" userId="37bb67de-9fcf-4611-888c-7e5b58184a2a" providerId="ADAL" clId="{D7BBC3CB-68AE-4307-9B5F-60512B429BF0}" dt="2022-03-23T21:54:25.377" v="6109" actId="478"/>
          <ac:spMkLst>
            <pc:docMk/>
            <pc:sldMk cId="911348781" sldId="2146846129"/>
            <ac:spMk id="93" creationId="{4B00AC9E-53E6-47B5-9A64-843616278B2B}"/>
          </ac:spMkLst>
        </pc:spChg>
        <pc:spChg chg="del mod">
          <ac:chgData name="Katerine Schifino" userId="37bb67de-9fcf-4611-888c-7e5b58184a2a" providerId="ADAL" clId="{D7BBC3CB-68AE-4307-9B5F-60512B429BF0}" dt="2022-03-23T21:52:09.714" v="5973" actId="478"/>
          <ac:spMkLst>
            <pc:docMk/>
            <pc:sldMk cId="911348781" sldId="2146846129"/>
            <ac:spMk id="94" creationId="{1BBDD8C7-CDE6-4FD5-BC6D-314836132ACE}"/>
          </ac:spMkLst>
        </pc:spChg>
        <pc:spChg chg="del mod">
          <ac:chgData name="Katerine Schifino" userId="37bb67de-9fcf-4611-888c-7e5b58184a2a" providerId="ADAL" clId="{D7BBC3CB-68AE-4307-9B5F-60512B429BF0}" dt="2022-03-23T21:52:06.185" v="5972" actId="478"/>
          <ac:spMkLst>
            <pc:docMk/>
            <pc:sldMk cId="911348781" sldId="2146846129"/>
            <ac:spMk id="95" creationId="{25F305CA-F0B7-4142-B458-1BE9FEED6D6B}"/>
          </ac:spMkLst>
        </pc:spChg>
        <pc:spChg chg="mod topLvl">
          <ac:chgData name="Katerine Schifino" userId="37bb67de-9fcf-4611-888c-7e5b58184a2a" providerId="ADAL" clId="{D7BBC3CB-68AE-4307-9B5F-60512B429BF0}" dt="2022-03-23T22:52:12.332" v="8349" actId="1076"/>
          <ac:spMkLst>
            <pc:docMk/>
            <pc:sldMk cId="911348781" sldId="2146846129"/>
            <ac:spMk id="96" creationId="{DEB7B4C1-5155-4B55-A62C-D0455C127018}"/>
          </ac:spMkLst>
        </pc:spChg>
        <pc:spChg chg="mod topLvl">
          <ac:chgData name="Katerine Schifino" userId="37bb67de-9fcf-4611-888c-7e5b58184a2a" providerId="ADAL" clId="{D7BBC3CB-68AE-4307-9B5F-60512B429BF0}" dt="2022-03-23T22:52:12.332" v="8349" actId="1076"/>
          <ac:spMkLst>
            <pc:docMk/>
            <pc:sldMk cId="911348781" sldId="2146846129"/>
            <ac:spMk id="97" creationId="{3B9BBA08-36E6-4663-B98E-94039FAE2D92}"/>
          </ac:spMkLst>
        </pc:spChg>
        <pc:spChg chg="mod topLvl">
          <ac:chgData name="Katerine Schifino" userId="37bb67de-9fcf-4611-888c-7e5b58184a2a" providerId="ADAL" clId="{D7BBC3CB-68AE-4307-9B5F-60512B429BF0}" dt="2022-03-23T22:52:12.332" v="8349" actId="1076"/>
          <ac:spMkLst>
            <pc:docMk/>
            <pc:sldMk cId="911348781" sldId="2146846129"/>
            <ac:spMk id="98" creationId="{8AB5F475-A3F1-4032-83D2-AC0B8D39BB29}"/>
          </ac:spMkLst>
        </pc:spChg>
        <pc:spChg chg="mod topLvl">
          <ac:chgData name="Katerine Schifino" userId="37bb67de-9fcf-4611-888c-7e5b58184a2a" providerId="ADAL" clId="{D7BBC3CB-68AE-4307-9B5F-60512B429BF0}" dt="2022-03-23T22:52:12.332" v="8349" actId="1076"/>
          <ac:spMkLst>
            <pc:docMk/>
            <pc:sldMk cId="911348781" sldId="2146846129"/>
            <ac:spMk id="99" creationId="{AFB16858-CE5E-47D7-9439-8DC471FD0DEF}"/>
          </ac:spMkLst>
        </pc:spChg>
        <pc:spChg chg="del mod">
          <ac:chgData name="Katerine Schifino" userId="37bb67de-9fcf-4611-888c-7e5b58184a2a" providerId="ADAL" clId="{D7BBC3CB-68AE-4307-9B5F-60512B429BF0}" dt="2022-03-23T21:54:25.377" v="6109" actId="478"/>
          <ac:spMkLst>
            <pc:docMk/>
            <pc:sldMk cId="911348781" sldId="2146846129"/>
            <ac:spMk id="100" creationId="{09C3A887-B2BF-47D4-A63B-04B953E44539}"/>
          </ac:spMkLst>
        </pc:spChg>
        <pc:spChg chg="del mod">
          <ac:chgData name="Katerine Schifino" userId="37bb67de-9fcf-4611-888c-7e5b58184a2a" providerId="ADAL" clId="{D7BBC3CB-68AE-4307-9B5F-60512B429BF0}" dt="2022-03-23T21:52:09.714" v="5973" actId="478"/>
          <ac:spMkLst>
            <pc:docMk/>
            <pc:sldMk cId="911348781" sldId="2146846129"/>
            <ac:spMk id="101" creationId="{63863142-DC04-4C52-8578-4ED85814E89C}"/>
          </ac:spMkLst>
        </pc:spChg>
        <pc:spChg chg="del mod">
          <ac:chgData name="Katerine Schifino" userId="37bb67de-9fcf-4611-888c-7e5b58184a2a" providerId="ADAL" clId="{D7BBC3CB-68AE-4307-9B5F-60512B429BF0}" dt="2022-03-23T21:52:06.185" v="5972" actId="478"/>
          <ac:spMkLst>
            <pc:docMk/>
            <pc:sldMk cId="911348781" sldId="2146846129"/>
            <ac:spMk id="102" creationId="{2CDF372B-5B5F-46BD-B686-541BF960EE42}"/>
          </ac:spMkLst>
        </pc:spChg>
        <pc:spChg chg="add mod">
          <ac:chgData name="Katerine Schifino" userId="37bb67de-9fcf-4611-888c-7e5b58184a2a" providerId="ADAL" clId="{D7BBC3CB-68AE-4307-9B5F-60512B429BF0}" dt="2022-03-23T22:52:12.332" v="8349" actId="1076"/>
          <ac:spMkLst>
            <pc:docMk/>
            <pc:sldMk cId="911348781" sldId="2146846129"/>
            <ac:spMk id="103" creationId="{9D4098D1-70FC-4DE4-A226-29B99877258D}"/>
          </ac:spMkLst>
        </pc:spChg>
        <pc:spChg chg="add mod">
          <ac:chgData name="Katerine Schifino" userId="37bb67de-9fcf-4611-888c-7e5b58184a2a" providerId="ADAL" clId="{D7BBC3CB-68AE-4307-9B5F-60512B429BF0}" dt="2022-03-23T22:52:12.332" v="8349" actId="1076"/>
          <ac:spMkLst>
            <pc:docMk/>
            <pc:sldMk cId="911348781" sldId="2146846129"/>
            <ac:spMk id="104" creationId="{D49AED80-CCF1-4B3A-8DDC-D19EDBF754C2}"/>
          </ac:spMkLst>
        </pc:spChg>
        <pc:spChg chg="add mod">
          <ac:chgData name="Katerine Schifino" userId="37bb67de-9fcf-4611-888c-7e5b58184a2a" providerId="ADAL" clId="{D7BBC3CB-68AE-4307-9B5F-60512B429BF0}" dt="2022-03-23T22:52:12.332" v="8349" actId="1076"/>
          <ac:spMkLst>
            <pc:docMk/>
            <pc:sldMk cId="911348781" sldId="2146846129"/>
            <ac:spMk id="105" creationId="{4CF25C2E-FEFE-44CB-894A-D1D5359B0684}"/>
          </ac:spMkLst>
        </pc:spChg>
        <pc:spChg chg="add mod">
          <ac:chgData name="Katerine Schifino" userId="37bb67de-9fcf-4611-888c-7e5b58184a2a" providerId="ADAL" clId="{D7BBC3CB-68AE-4307-9B5F-60512B429BF0}" dt="2022-03-23T22:52:12.332" v="8349" actId="1076"/>
          <ac:spMkLst>
            <pc:docMk/>
            <pc:sldMk cId="911348781" sldId="2146846129"/>
            <ac:spMk id="106" creationId="{C87E10BD-FF0A-48F4-A249-9FB8E0525706}"/>
          </ac:spMkLst>
        </pc:spChg>
        <pc:spChg chg="add mod">
          <ac:chgData name="Katerine Schifino" userId="37bb67de-9fcf-4611-888c-7e5b58184a2a" providerId="ADAL" clId="{D7BBC3CB-68AE-4307-9B5F-60512B429BF0}" dt="2022-03-23T22:00:13.500" v="6452" actId="164"/>
          <ac:spMkLst>
            <pc:docMk/>
            <pc:sldMk cId="911348781" sldId="2146846129"/>
            <ac:spMk id="107" creationId="{00769023-93F9-4383-8262-FEB050AF31A7}"/>
          </ac:spMkLst>
        </pc:spChg>
        <pc:spChg chg="mod">
          <ac:chgData name="Katerine Schifino" userId="37bb67de-9fcf-4611-888c-7e5b58184a2a" providerId="ADAL" clId="{D7BBC3CB-68AE-4307-9B5F-60512B429BF0}" dt="2022-03-23T21:59:58.677" v="6448"/>
          <ac:spMkLst>
            <pc:docMk/>
            <pc:sldMk cId="911348781" sldId="2146846129"/>
            <ac:spMk id="109" creationId="{45E2D985-D838-4B37-8AB9-C45FC56222BD}"/>
          </ac:spMkLst>
        </pc:spChg>
        <pc:spChg chg="add del mod">
          <ac:chgData name="Katerine Schifino" userId="37bb67de-9fcf-4611-888c-7e5b58184a2a" providerId="ADAL" clId="{D7BBC3CB-68AE-4307-9B5F-60512B429BF0}" dt="2022-03-23T22:52:18.221" v="8351" actId="478"/>
          <ac:spMkLst>
            <pc:docMk/>
            <pc:sldMk cId="911348781" sldId="2146846129"/>
            <ac:spMk id="111" creationId="{24037BAF-3AC0-41B2-814C-0560A6CB0243}"/>
          </ac:spMkLst>
        </pc:spChg>
        <pc:spChg chg="add mod">
          <ac:chgData name="Katerine Schifino" userId="37bb67de-9fcf-4611-888c-7e5b58184a2a" providerId="ADAL" clId="{D7BBC3CB-68AE-4307-9B5F-60512B429BF0}" dt="2022-03-23T22:52:12.332" v="8349" actId="1076"/>
          <ac:spMkLst>
            <pc:docMk/>
            <pc:sldMk cId="911348781" sldId="2146846129"/>
            <ac:spMk id="118" creationId="{A4C96D2A-5B34-4479-BECF-97C76A13EEFA}"/>
          </ac:spMkLst>
        </pc:spChg>
        <pc:spChg chg="add mod">
          <ac:chgData name="Katerine Schifino" userId="37bb67de-9fcf-4611-888c-7e5b58184a2a" providerId="ADAL" clId="{D7BBC3CB-68AE-4307-9B5F-60512B429BF0}" dt="2022-03-23T22:52:12.332" v="8349" actId="1076"/>
          <ac:spMkLst>
            <pc:docMk/>
            <pc:sldMk cId="911348781" sldId="2146846129"/>
            <ac:spMk id="119" creationId="{F26C2E02-92CE-47D4-A6F8-E2F41F8C761C}"/>
          </ac:spMkLst>
        </pc:spChg>
        <pc:spChg chg="add mod">
          <ac:chgData name="Katerine Schifino" userId="37bb67de-9fcf-4611-888c-7e5b58184a2a" providerId="ADAL" clId="{D7BBC3CB-68AE-4307-9B5F-60512B429BF0}" dt="2022-03-23T22:52:12.332" v="8349" actId="1076"/>
          <ac:spMkLst>
            <pc:docMk/>
            <pc:sldMk cId="911348781" sldId="2146846129"/>
            <ac:spMk id="120" creationId="{1BA5BB19-4465-4951-8D77-B3753D32B540}"/>
          </ac:spMkLst>
        </pc:spChg>
        <pc:spChg chg="add mod">
          <ac:chgData name="Katerine Schifino" userId="37bb67de-9fcf-4611-888c-7e5b58184a2a" providerId="ADAL" clId="{D7BBC3CB-68AE-4307-9B5F-60512B429BF0}" dt="2022-03-23T22:52:12.332" v="8349" actId="1076"/>
          <ac:spMkLst>
            <pc:docMk/>
            <pc:sldMk cId="911348781" sldId="2146846129"/>
            <ac:spMk id="121" creationId="{17023AB6-4DD4-4718-AAB7-E4D425C3FD13}"/>
          </ac:spMkLst>
        </pc:spChg>
        <pc:spChg chg="add del mod">
          <ac:chgData name="Katerine Schifino" userId="37bb67de-9fcf-4611-888c-7e5b58184a2a" providerId="ADAL" clId="{D7BBC3CB-68AE-4307-9B5F-60512B429BF0}" dt="2022-03-23T22:19:32.981" v="7520" actId="478"/>
          <ac:spMkLst>
            <pc:docMk/>
            <pc:sldMk cId="911348781" sldId="2146846129"/>
            <ac:spMk id="122" creationId="{3C4BA8B1-A4CA-4A7D-9EC1-4A4F9D4881E5}"/>
          </ac:spMkLst>
        </pc:spChg>
        <pc:spChg chg="add mod">
          <ac:chgData name="Katerine Schifino" userId="37bb67de-9fcf-4611-888c-7e5b58184a2a" providerId="ADAL" clId="{D7BBC3CB-68AE-4307-9B5F-60512B429BF0}" dt="2022-03-23T22:52:12.332" v="8349" actId="1076"/>
          <ac:spMkLst>
            <pc:docMk/>
            <pc:sldMk cId="911348781" sldId="2146846129"/>
            <ac:spMk id="123" creationId="{361DA0A0-8C6E-4AD7-9A71-239F60AE0F3E}"/>
          </ac:spMkLst>
        </pc:spChg>
        <pc:spChg chg="add mod">
          <ac:chgData name="Katerine Schifino" userId="37bb67de-9fcf-4611-888c-7e5b58184a2a" providerId="ADAL" clId="{D7BBC3CB-68AE-4307-9B5F-60512B429BF0}" dt="2022-03-23T22:52:12.332" v="8349" actId="1076"/>
          <ac:spMkLst>
            <pc:docMk/>
            <pc:sldMk cId="911348781" sldId="2146846129"/>
            <ac:spMk id="124" creationId="{CD0A3D36-04F8-4912-AB30-1760967C3709}"/>
          </ac:spMkLst>
        </pc:spChg>
        <pc:spChg chg="add mod">
          <ac:chgData name="Katerine Schifino" userId="37bb67de-9fcf-4611-888c-7e5b58184a2a" providerId="ADAL" clId="{D7BBC3CB-68AE-4307-9B5F-60512B429BF0}" dt="2022-03-23T22:52:12.332" v="8349" actId="1076"/>
          <ac:spMkLst>
            <pc:docMk/>
            <pc:sldMk cId="911348781" sldId="2146846129"/>
            <ac:spMk id="125" creationId="{20C4903E-6712-4C6C-9717-E316B39DAA32}"/>
          </ac:spMkLst>
        </pc:spChg>
        <pc:spChg chg="add del mod">
          <ac:chgData name="Katerine Schifino" userId="37bb67de-9fcf-4611-888c-7e5b58184a2a" providerId="ADAL" clId="{D7BBC3CB-68AE-4307-9B5F-60512B429BF0}" dt="2022-03-23T22:52:20.995" v="8352" actId="478"/>
          <ac:spMkLst>
            <pc:docMk/>
            <pc:sldMk cId="911348781" sldId="2146846129"/>
            <ac:spMk id="126" creationId="{9FD2479E-47C8-444D-B11D-36B48E2E9641}"/>
          </ac:spMkLst>
        </pc:spChg>
        <pc:grpChg chg="del">
          <ac:chgData name="Katerine Schifino" userId="37bb67de-9fcf-4611-888c-7e5b58184a2a" providerId="ADAL" clId="{D7BBC3CB-68AE-4307-9B5F-60512B429BF0}" dt="2022-03-23T21:17:55.131" v="5136" actId="478"/>
          <ac:grpSpMkLst>
            <pc:docMk/>
            <pc:sldMk cId="911348781" sldId="2146846129"/>
            <ac:grpSpMk id="6" creationId="{261DB4A7-4C07-46D7-916D-B61EDC194383}"/>
          </ac:grpSpMkLst>
        </pc:grpChg>
        <pc:grpChg chg="add del mod">
          <ac:chgData name="Katerine Schifino" userId="37bb67de-9fcf-4611-888c-7e5b58184a2a" providerId="ADAL" clId="{D7BBC3CB-68AE-4307-9B5F-60512B429BF0}" dt="2022-03-23T22:51:53.044" v="8347" actId="478"/>
          <ac:grpSpMkLst>
            <pc:docMk/>
            <pc:sldMk cId="911348781" sldId="2146846129"/>
            <ac:grpSpMk id="24" creationId="{05C285B0-A826-4678-85FD-2B0BEB175855}"/>
          </ac:grpSpMkLst>
        </pc:grpChg>
        <pc:grpChg chg="add del mod">
          <ac:chgData name="Katerine Schifino" userId="37bb67de-9fcf-4611-888c-7e5b58184a2a" providerId="ADAL" clId="{D7BBC3CB-68AE-4307-9B5F-60512B429BF0}" dt="2022-03-23T22:51:59.613" v="8348" actId="165"/>
          <ac:grpSpMkLst>
            <pc:docMk/>
            <pc:sldMk cId="911348781" sldId="2146846129"/>
            <ac:grpSpMk id="29" creationId="{25455190-98D4-4EBD-8169-1BB33F1D1327}"/>
          </ac:grpSpMkLst>
        </pc:grpChg>
        <pc:grpChg chg="del">
          <ac:chgData name="Katerine Schifino" userId="37bb67de-9fcf-4611-888c-7e5b58184a2a" providerId="ADAL" clId="{D7BBC3CB-68AE-4307-9B5F-60512B429BF0}" dt="2022-03-23T21:17:55.131" v="5136" actId="478"/>
          <ac:grpSpMkLst>
            <pc:docMk/>
            <pc:sldMk cId="911348781" sldId="2146846129"/>
            <ac:grpSpMk id="54" creationId="{C8CACEA6-0212-4EFD-B253-05AA389E4D94}"/>
          </ac:grpSpMkLst>
        </pc:grpChg>
        <pc:grpChg chg="add del mod">
          <ac:chgData name="Katerine Schifino" userId="37bb67de-9fcf-4611-888c-7e5b58184a2a" providerId="ADAL" clId="{D7BBC3CB-68AE-4307-9B5F-60512B429BF0}" dt="2022-03-23T22:51:59.613" v="8348" actId="165"/>
          <ac:grpSpMkLst>
            <pc:docMk/>
            <pc:sldMk cId="911348781" sldId="2146846129"/>
            <ac:grpSpMk id="56" creationId="{4C00BA8E-1917-4E6C-BB75-BC299A789CA8}"/>
          </ac:grpSpMkLst>
        </pc:grpChg>
        <pc:grpChg chg="add mod">
          <ac:chgData name="Katerine Schifino" userId="37bb67de-9fcf-4611-888c-7e5b58184a2a" providerId="ADAL" clId="{D7BBC3CB-68AE-4307-9B5F-60512B429BF0}" dt="2022-03-23T22:00:13.500" v="6452" actId="164"/>
          <ac:grpSpMkLst>
            <pc:docMk/>
            <pc:sldMk cId="911348781" sldId="2146846129"/>
            <ac:grpSpMk id="108" creationId="{950F7CE4-4B8F-43C4-BFCC-46975D30A2E8}"/>
          </ac:grpSpMkLst>
        </pc:grpChg>
        <pc:picChg chg="mod">
          <ac:chgData name="Katerine Schifino" userId="37bb67de-9fcf-4611-888c-7e5b58184a2a" providerId="ADAL" clId="{D7BBC3CB-68AE-4307-9B5F-60512B429BF0}" dt="2022-03-23T21:59:58.677" v="6448"/>
          <ac:picMkLst>
            <pc:docMk/>
            <pc:sldMk cId="911348781" sldId="2146846129"/>
            <ac:picMk id="110" creationId="{A8365DF3-B895-42F5-ABBC-7B7F12533A3D}"/>
          </ac:picMkLst>
        </pc:picChg>
        <pc:picChg chg="add mod topLvl">
          <ac:chgData name="Katerine Schifino" userId="37bb67de-9fcf-4611-888c-7e5b58184a2a" providerId="ADAL" clId="{D7BBC3CB-68AE-4307-9B5F-60512B429BF0}" dt="2022-03-23T22:52:12.332" v="8349" actId="1076"/>
          <ac:picMkLst>
            <pc:docMk/>
            <pc:sldMk cId="911348781" sldId="2146846129"/>
            <ac:picMk id="112" creationId="{E30A1D84-D348-4D2D-9B61-E9CEA0E6293F}"/>
          </ac:picMkLst>
        </pc:picChg>
        <pc:picChg chg="add mod topLvl">
          <ac:chgData name="Katerine Schifino" userId="37bb67de-9fcf-4611-888c-7e5b58184a2a" providerId="ADAL" clId="{D7BBC3CB-68AE-4307-9B5F-60512B429BF0}" dt="2022-03-23T22:52:12.332" v="8349" actId="1076"/>
          <ac:picMkLst>
            <pc:docMk/>
            <pc:sldMk cId="911348781" sldId="2146846129"/>
            <ac:picMk id="113" creationId="{AF896F4A-71C1-4C6A-AF09-EA2DB64DD592}"/>
          </ac:picMkLst>
        </pc:picChg>
        <pc:picChg chg="add mod topLvl">
          <ac:chgData name="Katerine Schifino" userId="37bb67de-9fcf-4611-888c-7e5b58184a2a" providerId="ADAL" clId="{D7BBC3CB-68AE-4307-9B5F-60512B429BF0}" dt="2022-03-23T22:52:12.332" v="8349" actId="1076"/>
          <ac:picMkLst>
            <pc:docMk/>
            <pc:sldMk cId="911348781" sldId="2146846129"/>
            <ac:picMk id="114" creationId="{22B86307-E3A8-4178-9A21-C50785B75952}"/>
          </ac:picMkLst>
        </pc:picChg>
        <pc:picChg chg="add mod topLvl">
          <ac:chgData name="Katerine Schifino" userId="37bb67de-9fcf-4611-888c-7e5b58184a2a" providerId="ADAL" clId="{D7BBC3CB-68AE-4307-9B5F-60512B429BF0}" dt="2022-03-23T22:52:12.332" v="8349" actId="1076"/>
          <ac:picMkLst>
            <pc:docMk/>
            <pc:sldMk cId="911348781" sldId="2146846129"/>
            <ac:picMk id="115" creationId="{345679A1-9F1C-42DE-92F8-D1F7A6B39241}"/>
          </ac:picMkLst>
        </pc:picChg>
        <pc:picChg chg="add mod topLvl">
          <ac:chgData name="Katerine Schifino" userId="37bb67de-9fcf-4611-888c-7e5b58184a2a" providerId="ADAL" clId="{D7BBC3CB-68AE-4307-9B5F-60512B429BF0}" dt="2022-03-23T22:52:12.332" v="8349" actId="1076"/>
          <ac:picMkLst>
            <pc:docMk/>
            <pc:sldMk cId="911348781" sldId="2146846129"/>
            <ac:picMk id="116" creationId="{6786E4A3-5AA3-412D-A62C-600FBCB53474}"/>
          </ac:picMkLst>
        </pc:picChg>
        <pc:picChg chg="add mod topLvl">
          <ac:chgData name="Katerine Schifino" userId="37bb67de-9fcf-4611-888c-7e5b58184a2a" providerId="ADAL" clId="{D7BBC3CB-68AE-4307-9B5F-60512B429BF0}" dt="2022-03-23T22:52:12.332" v="8349" actId="1076"/>
          <ac:picMkLst>
            <pc:docMk/>
            <pc:sldMk cId="911348781" sldId="2146846129"/>
            <ac:picMk id="117" creationId="{53197509-9705-4DFE-823C-F2880C065054}"/>
          </ac:picMkLst>
        </pc:picChg>
        <pc:picChg chg="add del">
          <ac:chgData name="Katerine Schifino" userId="37bb67de-9fcf-4611-888c-7e5b58184a2a" providerId="ADAL" clId="{D7BBC3CB-68AE-4307-9B5F-60512B429BF0}" dt="2022-03-23T21:18:51.047" v="5139" actId="478"/>
          <ac:picMkLst>
            <pc:docMk/>
            <pc:sldMk cId="911348781" sldId="2146846129"/>
            <ac:picMk id="4098" creationId="{2878EE32-FA46-4168-9266-2B4C62DFC071}"/>
          </ac:picMkLst>
        </pc:picChg>
        <pc:picChg chg="add del mod">
          <ac:chgData name="Katerine Schifino" userId="37bb67de-9fcf-4611-888c-7e5b58184a2a" providerId="ADAL" clId="{D7BBC3CB-68AE-4307-9B5F-60512B429BF0}" dt="2022-03-23T22:49:16.065" v="8308" actId="478"/>
          <ac:picMkLst>
            <pc:docMk/>
            <pc:sldMk cId="911348781" sldId="2146846129"/>
            <ac:picMk id="4100" creationId="{5E81034A-CB49-4DB3-B2F2-8F3E5ED99F0C}"/>
          </ac:picMkLst>
        </pc:picChg>
        <pc:picChg chg="add mod topLvl">
          <ac:chgData name="Katerine Schifino" userId="37bb67de-9fcf-4611-888c-7e5b58184a2a" providerId="ADAL" clId="{D7BBC3CB-68AE-4307-9B5F-60512B429BF0}" dt="2022-03-23T22:52:12.332" v="8349" actId="1076"/>
          <ac:picMkLst>
            <pc:docMk/>
            <pc:sldMk cId="911348781" sldId="2146846129"/>
            <ac:picMk id="4102" creationId="{A0BF8791-0948-49D1-9C21-D3702BD69FAA}"/>
          </ac:picMkLst>
        </pc:picChg>
        <pc:picChg chg="add mod topLvl">
          <ac:chgData name="Katerine Schifino" userId="37bb67de-9fcf-4611-888c-7e5b58184a2a" providerId="ADAL" clId="{D7BBC3CB-68AE-4307-9B5F-60512B429BF0}" dt="2022-03-23T22:52:12.332" v="8349" actId="1076"/>
          <ac:picMkLst>
            <pc:docMk/>
            <pc:sldMk cId="911348781" sldId="2146846129"/>
            <ac:picMk id="4104" creationId="{55760DB5-EB8E-4114-ABC7-952F776A375C}"/>
          </ac:picMkLst>
        </pc:picChg>
        <pc:cxnChg chg="mod topLvl">
          <ac:chgData name="Katerine Schifino" userId="37bb67de-9fcf-4611-888c-7e5b58184a2a" providerId="ADAL" clId="{D7BBC3CB-68AE-4307-9B5F-60512B429BF0}" dt="2022-03-23T22:52:12.332" v="8349" actId="1076"/>
          <ac:cxnSpMkLst>
            <pc:docMk/>
            <pc:sldMk cId="911348781" sldId="2146846129"/>
            <ac:cxnSpMk id="72" creationId="{FA68312F-C518-426F-B56E-60629089FAC9}"/>
          </ac:cxnSpMkLst>
        </pc:cxnChg>
        <pc:cxnChg chg="mod topLvl">
          <ac:chgData name="Katerine Schifino" userId="37bb67de-9fcf-4611-888c-7e5b58184a2a" providerId="ADAL" clId="{D7BBC3CB-68AE-4307-9B5F-60512B429BF0}" dt="2022-03-23T22:52:12.332" v="8349" actId="1076"/>
          <ac:cxnSpMkLst>
            <pc:docMk/>
            <pc:sldMk cId="911348781" sldId="2146846129"/>
            <ac:cxnSpMk id="73" creationId="{269079FD-489B-4D0C-9A11-A0F7942B3FF8}"/>
          </ac:cxnSpMkLst>
        </pc:cxnChg>
        <pc:cxnChg chg="mod topLvl">
          <ac:chgData name="Katerine Schifino" userId="37bb67de-9fcf-4611-888c-7e5b58184a2a" providerId="ADAL" clId="{D7BBC3CB-68AE-4307-9B5F-60512B429BF0}" dt="2022-03-23T22:52:12.332" v="8349" actId="1076"/>
          <ac:cxnSpMkLst>
            <pc:docMk/>
            <pc:sldMk cId="911348781" sldId="2146846129"/>
            <ac:cxnSpMk id="74" creationId="{7D478736-CF0B-424A-973A-274E7CC363AC}"/>
          </ac:cxnSpMkLst>
        </pc:cxnChg>
      </pc:sldChg>
      <pc:sldChg chg="delSp modSp add del mod ord">
        <pc:chgData name="Katerine Schifino" userId="37bb67de-9fcf-4611-888c-7e5b58184a2a" providerId="ADAL" clId="{D7BBC3CB-68AE-4307-9B5F-60512B429BF0}" dt="2022-03-23T16:23:03.423" v="2439" actId="47"/>
        <pc:sldMkLst>
          <pc:docMk/>
          <pc:sldMk cId="2550085921" sldId="2146846130"/>
        </pc:sldMkLst>
        <pc:spChg chg="del mod">
          <ac:chgData name="Katerine Schifino" userId="37bb67de-9fcf-4611-888c-7e5b58184a2a" providerId="ADAL" clId="{D7BBC3CB-68AE-4307-9B5F-60512B429BF0}" dt="2022-03-23T16:18:03.841" v="2383" actId="21"/>
          <ac:spMkLst>
            <pc:docMk/>
            <pc:sldMk cId="2550085921" sldId="2146846130"/>
            <ac:spMk id="124" creationId="{60ADC211-36AE-443F-AAEA-7FDA4CE4817B}"/>
          </ac:spMkLst>
        </pc:spChg>
        <pc:grpChg chg="mod">
          <ac:chgData name="Katerine Schifino" userId="37bb67de-9fcf-4611-888c-7e5b58184a2a" providerId="ADAL" clId="{D7BBC3CB-68AE-4307-9B5F-60512B429BF0}" dt="2022-03-23T16:18:24.319" v="2389" actId="1076"/>
          <ac:grpSpMkLst>
            <pc:docMk/>
            <pc:sldMk cId="2550085921" sldId="2146846130"/>
            <ac:grpSpMk id="8" creationId="{1B5BD8F5-F7DC-41D7-A74F-31A4C0748F42}"/>
          </ac:grpSpMkLst>
        </pc:grpChg>
      </pc:sldChg>
      <pc:sldChg chg="addSp delSp modSp add mod">
        <pc:chgData name="Katerine Schifino" userId="37bb67de-9fcf-4611-888c-7e5b58184a2a" providerId="ADAL" clId="{D7BBC3CB-68AE-4307-9B5F-60512B429BF0}" dt="2022-03-23T21:17:07.514" v="5092" actId="113"/>
        <pc:sldMkLst>
          <pc:docMk/>
          <pc:sldMk cId="183289927" sldId="2146846131"/>
        </pc:sldMkLst>
        <pc:spChg chg="add del mod">
          <ac:chgData name="Katerine Schifino" userId="37bb67de-9fcf-4611-888c-7e5b58184a2a" providerId="ADAL" clId="{D7BBC3CB-68AE-4307-9B5F-60512B429BF0}" dt="2022-03-23T21:13:35.483" v="4930" actId="478"/>
          <ac:spMkLst>
            <pc:docMk/>
            <pc:sldMk cId="183289927" sldId="2146846131"/>
            <ac:spMk id="7" creationId="{B3934FC6-F527-444C-9050-A9ECA6CF635F}"/>
          </ac:spMkLst>
        </pc:spChg>
        <pc:spChg chg="del mod">
          <ac:chgData name="Katerine Schifino" userId="37bb67de-9fcf-4611-888c-7e5b58184a2a" providerId="ADAL" clId="{D7BBC3CB-68AE-4307-9B5F-60512B429BF0}" dt="2022-03-23T14:20:56.020" v="1757" actId="478"/>
          <ac:spMkLst>
            <pc:docMk/>
            <pc:sldMk cId="183289927" sldId="2146846131"/>
            <ac:spMk id="9" creationId="{00000000-0000-0000-0000-000000000000}"/>
          </ac:spMkLst>
        </pc:spChg>
        <pc:spChg chg="del">
          <ac:chgData name="Katerine Schifino" userId="37bb67de-9fcf-4611-888c-7e5b58184a2a" providerId="ADAL" clId="{D7BBC3CB-68AE-4307-9B5F-60512B429BF0}" dt="2022-03-23T14:07:25.660" v="1683" actId="478"/>
          <ac:spMkLst>
            <pc:docMk/>
            <pc:sldMk cId="183289927" sldId="2146846131"/>
            <ac:spMk id="11" creationId="{00000000-0000-0000-0000-000000000000}"/>
          </ac:spMkLst>
        </pc:spChg>
        <pc:spChg chg="del mod">
          <ac:chgData name="Katerine Schifino" userId="37bb67de-9fcf-4611-888c-7e5b58184a2a" providerId="ADAL" clId="{D7BBC3CB-68AE-4307-9B5F-60512B429BF0}" dt="2022-03-23T14:20:56.020" v="1757" actId="478"/>
          <ac:spMkLst>
            <pc:docMk/>
            <pc:sldMk cId="183289927" sldId="2146846131"/>
            <ac:spMk id="12" creationId="{00000000-0000-0000-0000-000000000000}"/>
          </ac:spMkLst>
        </pc:spChg>
        <pc:spChg chg="del">
          <ac:chgData name="Katerine Schifino" userId="37bb67de-9fcf-4611-888c-7e5b58184a2a" providerId="ADAL" clId="{D7BBC3CB-68AE-4307-9B5F-60512B429BF0}" dt="2022-03-23T14:07:25.660" v="1683" actId="478"/>
          <ac:spMkLst>
            <pc:docMk/>
            <pc:sldMk cId="183289927" sldId="2146846131"/>
            <ac:spMk id="13" creationId="{00000000-0000-0000-0000-000000000000}"/>
          </ac:spMkLst>
        </pc:spChg>
        <pc:spChg chg="del">
          <ac:chgData name="Katerine Schifino" userId="37bb67de-9fcf-4611-888c-7e5b58184a2a" providerId="ADAL" clId="{D7BBC3CB-68AE-4307-9B5F-60512B429BF0}" dt="2022-03-23T14:07:25.660" v="1683" actId="478"/>
          <ac:spMkLst>
            <pc:docMk/>
            <pc:sldMk cId="183289927" sldId="2146846131"/>
            <ac:spMk id="14" creationId="{00000000-0000-0000-0000-000000000000}"/>
          </ac:spMkLst>
        </pc:spChg>
        <pc:spChg chg="del">
          <ac:chgData name="Katerine Schifino" userId="37bb67de-9fcf-4611-888c-7e5b58184a2a" providerId="ADAL" clId="{D7BBC3CB-68AE-4307-9B5F-60512B429BF0}" dt="2022-03-23T14:07:25.660" v="1683" actId="478"/>
          <ac:spMkLst>
            <pc:docMk/>
            <pc:sldMk cId="183289927" sldId="2146846131"/>
            <ac:spMk id="15" creationId="{00000000-0000-0000-0000-000000000000}"/>
          </ac:spMkLst>
        </pc:spChg>
        <pc:spChg chg="del">
          <ac:chgData name="Katerine Schifino" userId="37bb67de-9fcf-4611-888c-7e5b58184a2a" providerId="ADAL" clId="{D7BBC3CB-68AE-4307-9B5F-60512B429BF0}" dt="2022-03-23T14:07:27.311" v="1684" actId="478"/>
          <ac:spMkLst>
            <pc:docMk/>
            <pc:sldMk cId="183289927" sldId="2146846131"/>
            <ac:spMk id="17" creationId="{00000000-0000-0000-0000-000000000000}"/>
          </ac:spMkLst>
        </pc:spChg>
        <pc:spChg chg="del">
          <ac:chgData name="Katerine Schifino" userId="37bb67de-9fcf-4611-888c-7e5b58184a2a" providerId="ADAL" clId="{D7BBC3CB-68AE-4307-9B5F-60512B429BF0}" dt="2022-03-23T14:07:25.660" v="1683" actId="478"/>
          <ac:spMkLst>
            <pc:docMk/>
            <pc:sldMk cId="183289927" sldId="2146846131"/>
            <ac:spMk id="18" creationId="{00000000-0000-0000-0000-000000000000}"/>
          </ac:spMkLst>
        </pc:spChg>
        <pc:spChg chg="del">
          <ac:chgData name="Katerine Schifino" userId="37bb67de-9fcf-4611-888c-7e5b58184a2a" providerId="ADAL" clId="{D7BBC3CB-68AE-4307-9B5F-60512B429BF0}" dt="2022-03-23T14:07:25.660" v="1683" actId="478"/>
          <ac:spMkLst>
            <pc:docMk/>
            <pc:sldMk cId="183289927" sldId="2146846131"/>
            <ac:spMk id="19" creationId="{00000000-0000-0000-0000-000000000000}"/>
          </ac:spMkLst>
        </pc:spChg>
        <pc:spChg chg="add mod">
          <ac:chgData name="Katerine Schifino" userId="37bb67de-9fcf-4611-888c-7e5b58184a2a" providerId="ADAL" clId="{D7BBC3CB-68AE-4307-9B5F-60512B429BF0}" dt="2022-03-23T21:13:50.820" v="4961" actId="1035"/>
          <ac:spMkLst>
            <pc:docMk/>
            <pc:sldMk cId="183289927" sldId="2146846131"/>
            <ac:spMk id="20" creationId="{9ADF1B7E-0958-4ED6-9413-88B4915CF8A8}"/>
          </ac:spMkLst>
        </pc:spChg>
        <pc:spChg chg="del">
          <ac:chgData name="Katerine Schifino" userId="37bb67de-9fcf-4611-888c-7e5b58184a2a" providerId="ADAL" clId="{D7BBC3CB-68AE-4307-9B5F-60512B429BF0}" dt="2022-03-23T14:07:29.164" v="1685" actId="478"/>
          <ac:spMkLst>
            <pc:docMk/>
            <pc:sldMk cId="183289927" sldId="2146846131"/>
            <ac:spMk id="21" creationId="{00000000-0000-0000-0000-000000000000}"/>
          </ac:spMkLst>
        </pc:spChg>
        <pc:spChg chg="del">
          <ac:chgData name="Katerine Schifino" userId="37bb67de-9fcf-4611-888c-7e5b58184a2a" providerId="ADAL" clId="{D7BBC3CB-68AE-4307-9B5F-60512B429BF0}" dt="2022-03-23T14:07:25.660" v="1683" actId="478"/>
          <ac:spMkLst>
            <pc:docMk/>
            <pc:sldMk cId="183289927" sldId="2146846131"/>
            <ac:spMk id="22" creationId="{00000000-0000-0000-0000-000000000000}"/>
          </ac:spMkLst>
        </pc:spChg>
        <pc:spChg chg="del">
          <ac:chgData name="Katerine Schifino" userId="37bb67de-9fcf-4611-888c-7e5b58184a2a" providerId="ADAL" clId="{D7BBC3CB-68AE-4307-9B5F-60512B429BF0}" dt="2022-03-23T14:07:25.660" v="1683" actId="478"/>
          <ac:spMkLst>
            <pc:docMk/>
            <pc:sldMk cId="183289927" sldId="2146846131"/>
            <ac:spMk id="23" creationId="{00000000-0000-0000-0000-000000000000}"/>
          </ac:spMkLst>
        </pc:spChg>
        <pc:spChg chg="add mod">
          <ac:chgData name="Katerine Schifino" userId="37bb67de-9fcf-4611-888c-7e5b58184a2a" providerId="ADAL" clId="{D7BBC3CB-68AE-4307-9B5F-60512B429BF0}" dt="2022-03-23T21:13:50.820" v="4961" actId="1035"/>
          <ac:spMkLst>
            <pc:docMk/>
            <pc:sldMk cId="183289927" sldId="2146846131"/>
            <ac:spMk id="24" creationId="{1CD37BB6-74CD-4C39-B0B9-2B4CB7DFB18B}"/>
          </ac:spMkLst>
        </pc:spChg>
        <pc:spChg chg="del">
          <ac:chgData name="Katerine Schifino" userId="37bb67de-9fcf-4611-888c-7e5b58184a2a" providerId="ADAL" clId="{D7BBC3CB-68AE-4307-9B5F-60512B429BF0}" dt="2022-03-23T14:07:25.660" v="1683" actId="478"/>
          <ac:spMkLst>
            <pc:docMk/>
            <pc:sldMk cId="183289927" sldId="2146846131"/>
            <ac:spMk id="26" creationId="{00000000-0000-0000-0000-000000000000}"/>
          </ac:spMkLst>
        </pc:spChg>
        <pc:spChg chg="del">
          <ac:chgData name="Katerine Schifino" userId="37bb67de-9fcf-4611-888c-7e5b58184a2a" providerId="ADAL" clId="{D7BBC3CB-68AE-4307-9B5F-60512B429BF0}" dt="2022-03-23T14:07:25.660" v="1683" actId="478"/>
          <ac:spMkLst>
            <pc:docMk/>
            <pc:sldMk cId="183289927" sldId="2146846131"/>
            <ac:spMk id="27" creationId="{00000000-0000-0000-0000-000000000000}"/>
          </ac:spMkLst>
        </pc:spChg>
        <pc:spChg chg="add mod">
          <ac:chgData name="Katerine Schifino" userId="37bb67de-9fcf-4611-888c-7e5b58184a2a" providerId="ADAL" clId="{D7BBC3CB-68AE-4307-9B5F-60512B429BF0}" dt="2022-03-23T20:29:26.949" v="3651" actId="164"/>
          <ac:spMkLst>
            <pc:docMk/>
            <pc:sldMk cId="183289927" sldId="2146846131"/>
            <ac:spMk id="28" creationId="{7008C239-2DA4-451D-B251-5DEC291A35C8}"/>
          </ac:spMkLst>
        </pc:spChg>
        <pc:spChg chg="del">
          <ac:chgData name="Katerine Schifino" userId="37bb67de-9fcf-4611-888c-7e5b58184a2a" providerId="ADAL" clId="{D7BBC3CB-68AE-4307-9B5F-60512B429BF0}" dt="2022-03-23T19:17:48.875" v="3273" actId="478"/>
          <ac:spMkLst>
            <pc:docMk/>
            <pc:sldMk cId="183289927" sldId="2146846131"/>
            <ac:spMk id="29" creationId="{00000000-0000-0000-0000-000000000000}"/>
          </ac:spMkLst>
        </pc:spChg>
        <pc:spChg chg="add del mod">
          <ac:chgData name="Katerine Schifino" userId="37bb67de-9fcf-4611-888c-7e5b58184a2a" providerId="ADAL" clId="{D7BBC3CB-68AE-4307-9B5F-60512B429BF0}" dt="2022-03-23T19:18:17.147" v="3274" actId="478"/>
          <ac:spMkLst>
            <pc:docMk/>
            <pc:sldMk cId="183289927" sldId="2146846131"/>
            <ac:spMk id="30" creationId="{E4989FD4-F5A5-4010-8128-EEE66D6C8FA9}"/>
          </ac:spMkLst>
        </pc:spChg>
        <pc:spChg chg="del">
          <ac:chgData name="Katerine Schifino" userId="37bb67de-9fcf-4611-888c-7e5b58184a2a" providerId="ADAL" clId="{D7BBC3CB-68AE-4307-9B5F-60512B429BF0}" dt="2022-03-23T20:32:31.792" v="3823" actId="478"/>
          <ac:spMkLst>
            <pc:docMk/>
            <pc:sldMk cId="183289927" sldId="2146846131"/>
            <ac:spMk id="31" creationId="{22C86BCD-FEA4-440C-830D-440B6362E335}"/>
          </ac:spMkLst>
        </pc:spChg>
        <pc:spChg chg="add mod">
          <ac:chgData name="Katerine Schifino" userId="37bb67de-9fcf-4611-888c-7e5b58184a2a" providerId="ADAL" clId="{D7BBC3CB-68AE-4307-9B5F-60512B429BF0}" dt="2022-03-23T20:29:26.949" v="3651" actId="164"/>
          <ac:spMkLst>
            <pc:docMk/>
            <pc:sldMk cId="183289927" sldId="2146846131"/>
            <ac:spMk id="34" creationId="{D296B0AC-FA73-4197-91F4-EA96AD1E030D}"/>
          </ac:spMkLst>
        </pc:spChg>
        <pc:spChg chg="add mod">
          <ac:chgData name="Katerine Schifino" userId="37bb67de-9fcf-4611-888c-7e5b58184a2a" providerId="ADAL" clId="{D7BBC3CB-68AE-4307-9B5F-60512B429BF0}" dt="2022-03-23T21:17:07.514" v="5092" actId="113"/>
          <ac:spMkLst>
            <pc:docMk/>
            <pc:sldMk cId="183289927" sldId="2146846131"/>
            <ac:spMk id="37" creationId="{6FE83AC4-C052-49C7-B409-A12A105CF3C5}"/>
          </ac:spMkLst>
        </pc:spChg>
        <pc:spChg chg="add mod">
          <ac:chgData name="Katerine Schifino" userId="37bb67de-9fcf-4611-888c-7e5b58184a2a" providerId="ADAL" clId="{D7BBC3CB-68AE-4307-9B5F-60512B429BF0}" dt="2022-03-23T21:14:02.362" v="5004" actId="1036"/>
          <ac:spMkLst>
            <pc:docMk/>
            <pc:sldMk cId="183289927" sldId="2146846131"/>
            <ac:spMk id="38" creationId="{9F637805-F0FB-49D0-816C-BFD0A27CFBFA}"/>
          </ac:spMkLst>
        </pc:spChg>
        <pc:spChg chg="add mod">
          <ac:chgData name="Katerine Schifino" userId="37bb67de-9fcf-4611-888c-7e5b58184a2a" providerId="ADAL" clId="{D7BBC3CB-68AE-4307-9B5F-60512B429BF0}" dt="2022-03-23T21:13:58.180" v="4988" actId="1035"/>
          <ac:spMkLst>
            <pc:docMk/>
            <pc:sldMk cId="183289927" sldId="2146846131"/>
            <ac:spMk id="39" creationId="{B47ACD29-B920-4C02-B145-117C44414EE0}"/>
          </ac:spMkLst>
        </pc:spChg>
        <pc:spChg chg="add mod">
          <ac:chgData name="Katerine Schifino" userId="37bb67de-9fcf-4611-888c-7e5b58184a2a" providerId="ADAL" clId="{D7BBC3CB-68AE-4307-9B5F-60512B429BF0}" dt="2022-03-23T21:13:50.820" v="4961" actId="1035"/>
          <ac:spMkLst>
            <pc:docMk/>
            <pc:sldMk cId="183289927" sldId="2146846131"/>
            <ac:spMk id="40" creationId="{1EFB2BC4-DCD9-4BBE-85CD-6E874E708F7E}"/>
          </ac:spMkLst>
        </pc:spChg>
        <pc:spChg chg="add mod">
          <ac:chgData name="Katerine Schifino" userId="37bb67de-9fcf-4611-888c-7e5b58184a2a" providerId="ADAL" clId="{D7BBC3CB-68AE-4307-9B5F-60512B429BF0}" dt="2022-03-23T21:14:02.362" v="5004" actId="1036"/>
          <ac:spMkLst>
            <pc:docMk/>
            <pc:sldMk cId="183289927" sldId="2146846131"/>
            <ac:spMk id="41" creationId="{085C9CC8-9FE1-4D4D-8F4D-CA6519036377}"/>
          </ac:spMkLst>
        </pc:spChg>
        <pc:spChg chg="add mod">
          <ac:chgData name="Katerine Schifino" userId="37bb67de-9fcf-4611-888c-7e5b58184a2a" providerId="ADAL" clId="{D7BBC3CB-68AE-4307-9B5F-60512B429BF0}" dt="2022-03-23T21:13:58.180" v="4988" actId="1035"/>
          <ac:spMkLst>
            <pc:docMk/>
            <pc:sldMk cId="183289927" sldId="2146846131"/>
            <ac:spMk id="42" creationId="{08F0BCA2-AC60-4D91-AE64-3259D89923AD}"/>
          </ac:spMkLst>
        </pc:spChg>
        <pc:spChg chg="add mod">
          <ac:chgData name="Katerine Schifino" userId="37bb67de-9fcf-4611-888c-7e5b58184a2a" providerId="ADAL" clId="{D7BBC3CB-68AE-4307-9B5F-60512B429BF0}" dt="2022-03-23T21:13:50.820" v="4961" actId="1035"/>
          <ac:spMkLst>
            <pc:docMk/>
            <pc:sldMk cId="183289927" sldId="2146846131"/>
            <ac:spMk id="43" creationId="{A9023C9B-DE12-4F70-84A4-868E09BBD91E}"/>
          </ac:spMkLst>
        </pc:spChg>
        <pc:spChg chg="add mod">
          <ac:chgData name="Katerine Schifino" userId="37bb67de-9fcf-4611-888c-7e5b58184a2a" providerId="ADAL" clId="{D7BBC3CB-68AE-4307-9B5F-60512B429BF0}" dt="2022-03-23T21:14:02.362" v="5004" actId="1036"/>
          <ac:spMkLst>
            <pc:docMk/>
            <pc:sldMk cId="183289927" sldId="2146846131"/>
            <ac:spMk id="44" creationId="{A8DED7F7-5D0D-46C2-B44E-480C6173B042}"/>
          </ac:spMkLst>
        </pc:spChg>
        <pc:spChg chg="add mod">
          <ac:chgData name="Katerine Schifino" userId="37bb67de-9fcf-4611-888c-7e5b58184a2a" providerId="ADAL" clId="{D7BBC3CB-68AE-4307-9B5F-60512B429BF0}" dt="2022-03-23T21:14:02.362" v="5004" actId="1036"/>
          <ac:spMkLst>
            <pc:docMk/>
            <pc:sldMk cId="183289927" sldId="2146846131"/>
            <ac:spMk id="45" creationId="{2FB71E4B-5C93-49D0-B4F9-D5D557832C67}"/>
          </ac:spMkLst>
        </pc:spChg>
        <pc:spChg chg="add mod">
          <ac:chgData name="Katerine Schifino" userId="37bb67de-9fcf-4611-888c-7e5b58184a2a" providerId="ADAL" clId="{D7BBC3CB-68AE-4307-9B5F-60512B429BF0}" dt="2022-03-23T21:13:58.180" v="4988" actId="1035"/>
          <ac:spMkLst>
            <pc:docMk/>
            <pc:sldMk cId="183289927" sldId="2146846131"/>
            <ac:spMk id="46" creationId="{1FA59CE8-49EC-4EFB-AA26-4D9BB9CD446C}"/>
          </ac:spMkLst>
        </pc:spChg>
        <pc:spChg chg="add mod">
          <ac:chgData name="Katerine Schifino" userId="37bb67de-9fcf-4611-888c-7e5b58184a2a" providerId="ADAL" clId="{D7BBC3CB-68AE-4307-9B5F-60512B429BF0}" dt="2022-03-23T21:13:58.180" v="4988" actId="1035"/>
          <ac:spMkLst>
            <pc:docMk/>
            <pc:sldMk cId="183289927" sldId="2146846131"/>
            <ac:spMk id="47" creationId="{43D377F3-EC34-4C92-BD09-E7D8D7BAD919}"/>
          </ac:spMkLst>
        </pc:spChg>
        <pc:spChg chg="add mod">
          <ac:chgData name="Katerine Schifino" userId="37bb67de-9fcf-4611-888c-7e5b58184a2a" providerId="ADAL" clId="{D7BBC3CB-68AE-4307-9B5F-60512B429BF0}" dt="2022-03-23T21:13:50.820" v="4961" actId="1035"/>
          <ac:spMkLst>
            <pc:docMk/>
            <pc:sldMk cId="183289927" sldId="2146846131"/>
            <ac:spMk id="48" creationId="{069EE235-0DBC-44D2-94ED-C8F4110FB350}"/>
          </ac:spMkLst>
        </pc:spChg>
        <pc:spChg chg="add mod">
          <ac:chgData name="Katerine Schifino" userId="37bb67de-9fcf-4611-888c-7e5b58184a2a" providerId="ADAL" clId="{D7BBC3CB-68AE-4307-9B5F-60512B429BF0}" dt="2022-03-23T21:13:50.820" v="4961" actId="1035"/>
          <ac:spMkLst>
            <pc:docMk/>
            <pc:sldMk cId="183289927" sldId="2146846131"/>
            <ac:spMk id="49" creationId="{39ABC239-5BAD-4410-A2ED-4CB262FD48AC}"/>
          </ac:spMkLst>
        </pc:spChg>
        <pc:spChg chg="add mod">
          <ac:chgData name="Katerine Schifino" userId="37bb67de-9fcf-4611-888c-7e5b58184a2a" providerId="ADAL" clId="{D7BBC3CB-68AE-4307-9B5F-60512B429BF0}" dt="2022-03-23T21:14:24.046" v="5015" actId="20577"/>
          <ac:spMkLst>
            <pc:docMk/>
            <pc:sldMk cId="183289927" sldId="2146846131"/>
            <ac:spMk id="50" creationId="{7D41C6F1-B031-4786-9B5F-63E1C0B55828}"/>
          </ac:spMkLst>
        </pc:spChg>
        <pc:spChg chg="add mod">
          <ac:chgData name="Katerine Schifino" userId="37bb67de-9fcf-4611-888c-7e5b58184a2a" providerId="ADAL" clId="{D7BBC3CB-68AE-4307-9B5F-60512B429BF0}" dt="2022-03-23T21:14:36.514" v="5019" actId="20577"/>
          <ac:spMkLst>
            <pc:docMk/>
            <pc:sldMk cId="183289927" sldId="2146846131"/>
            <ac:spMk id="51" creationId="{5D6B013A-2856-45A0-A354-A3B685C8DB4F}"/>
          </ac:spMkLst>
        </pc:spChg>
        <pc:spChg chg="add mod">
          <ac:chgData name="Katerine Schifino" userId="37bb67de-9fcf-4611-888c-7e5b58184a2a" providerId="ADAL" clId="{D7BBC3CB-68AE-4307-9B5F-60512B429BF0}" dt="2022-03-23T21:13:58.180" v="4988" actId="1035"/>
          <ac:spMkLst>
            <pc:docMk/>
            <pc:sldMk cId="183289927" sldId="2146846131"/>
            <ac:spMk id="52" creationId="{A7C364FC-CDB6-40B2-9422-2D97EE848DEC}"/>
          </ac:spMkLst>
        </pc:spChg>
        <pc:spChg chg="add mod">
          <ac:chgData name="Katerine Schifino" userId="37bb67de-9fcf-4611-888c-7e5b58184a2a" providerId="ADAL" clId="{D7BBC3CB-68AE-4307-9B5F-60512B429BF0}" dt="2022-03-23T21:13:58.180" v="4988" actId="1035"/>
          <ac:spMkLst>
            <pc:docMk/>
            <pc:sldMk cId="183289927" sldId="2146846131"/>
            <ac:spMk id="53" creationId="{916E5172-5444-40AC-B0E7-8EEB0C9A3C67}"/>
          </ac:spMkLst>
        </pc:spChg>
        <pc:spChg chg="add del mod">
          <ac:chgData name="Katerine Schifino" userId="37bb67de-9fcf-4611-888c-7e5b58184a2a" providerId="ADAL" clId="{D7BBC3CB-68AE-4307-9B5F-60512B429BF0}" dt="2022-03-23T20:42:48.392" v="4330"/>
          <ac:spMkLst>
            <pc:docMk/>
            <pc:sldMk cId="183289927" sldId="2146846131"/>
            <ac:spMk id="54" creationId="{3CCAA33B-5016-47BC-8684-CFE7440DAEE3}"/>
          </ac:spMkLst>
        </pc:spChg>
        <pc:spChg chg="add del mod">
          <ac:chgData name="Katerine Schifino" userId="37bb67de-9fcf-4611-888c-7e5b58184a2a" providerId="ADAL" clId="{D7BBC3CB-68AE-4307-9B5F-60512B429BF0}" dt="2022-03-23T20:42:59.495" v="4334" actId="478"/>
          <ac:spMkLst>
            <pc:docMk/>
            <pc:sldMk cId="183289927" sldId="2146846131"/>
            <ac:spMk id="55" creationId="{10F34C88-14DE-41E0-9698-AF99424A66F5}"/>
          </ac:spMkLst>
        </pc:spChg>
        <pc:grpChg chg="add mod">
          <ac:chgData name="Katerine Schifino" userId="37bb67de-9fcf-4611-888c-7e5b58184a2a" providerId="ADAL" clId="{D7BBC3CB-68AE-4307-9B5F-60512B429BF0}" dt="2022-03-23T20:29:25.869" v="3650" actId="164"/>
          <ac:grpSpMkLst>
            <pc:docMk/>
            <pc:sldMk cId="183289927" sldId="2146846131"/>
            <ac:grpSpMk id="2" creationId="{6EBB98B0-088F-40CE-B293-F54F99D37E13}"/>
          </ac:grpSpMkLst>
        </pc:grpChg>
        <pc:grpChg chg="add mod">
          <ac:chgData name="Katerine Schifino" userId="37bb67de-9fcf-4611-888c-7e5b58184a2a" providerId="ADAL" clId="{D7BBC3CB-68AE-4307-9B5F-60512B429BF0}" dt="2022-03-23T20:29:26.949" v="3651" actId="164"/>
          <ac:grpSpMkLst>
            <pc:docMk/>
            <pc:sldMk cId="183289927" sldId="2146846131"/>
            <ac:grpSpMk id="3" creationId="{E3B35940-3604-41DC-996B-A6F65C6BA5E9}"/>
          </ac:grpSpMkLst>
        </pc:grpChg>
        <pc:grpChg chg="del">
          <ac:chgData name="Katerine Schifino" userId="37bb67de-9fcf-4611-888c-7e5b58184a2a" providerId="ADAL" clId="{D7BBC3CB-68AE-4307-9B5F-60512B429BF0}" dt="2022-03-23T14:07:25.660" v="1683" actId="478"/>
          <ac:grpSpMkLst>
            <pc:docMk/>
            <pc:sldMk cId="183289927" sldId="2146846131"/>
            <ac:grpSpMk id="36" creationId="{66BD77E6-9247-4A8E-A007-E91B3D652549}"/>
          </ac:grpSpMkLst>
        </pc:grpChg>
        <pc:graphicFrameChg chg="add del mod modGraphic">
          <ac:chgData name="Katerine Schifino" userId="37bb67de-9fcf-4611-888c-7e5b58184a2a" providerId="ADAL" clId="{D7BBC3CB-68AE-4307-9B5F-60512B429BF0}" dt="2022-03-23T20:30:45.408" v="3695" actId="478"/>
          <ac:graphicFrameMkLst>
            <pc:docMk/>
            <pc:sldMk cId="183289927" sldId="2146846131"/>
            <ac:graphicFrameMk id="4" creationId="{09C511DA-83D1-4B13-BE75-3A50E987881C}"/>
          </ac:graphicFrameMkLst>
        </pc:graphicFrameChg>
        <pc:picChg chg="del">
          <ac:chgData name="Katerine Schifino" userId="37bb67de-9fcf-4611-888c-7e5b58184a2a" providerId="ADAL" clId="{D7BBC3CB-68AE-4307-9B5F-60512B429BF0}" dt="2022-03-23T14:07:25.660" v="1683" actId="478"/>
          <ac:picMkLst>
            <pc:docMk/>
            <pc:sldMk cId="183289927" sldId="2146846131"/>
            <ac:picMk id="8" creationId="{8902D530-99F3-492D-B38B-2F0220702DE5}"/>
          </ac:picMkLst>
        </pc:picChg>
        <pc:picChg chg="del mod">
          <ac:chgData name="Katerine Schifino" userId="37bb67de-9fcf-4611-888c-7e5b58184a2a" providerId="ADAL" clId="{D7BBC3CB-68AE-4307-9B5F-60512B429BF0}" dt="2022-03-23T14:20:56.020" v="1757" actId="478"/>
          <ac:picMkLst>
            <pc:docMk/>
            <pc:sldMk cId="183289927" sldId="2146846131"/>
            <ac:picMk id="10" creationId="{00000000-0000-0000-0000-000000000000}"/>
          </ac:picMkLst>
        </pc:picChg>
        <pc:picChg chg="del">
          <ac:chgData name="Katerine Schifino" userId="37bb67de-9fcf-4611-888c-7e5b58184a2a" providerId="ADAL" clId="{D7BBC3CB-68AE-4307-9B5F-60512B429BF0}" dt="2022-03-23T14:07:29.164" v="1685" actId="478"/>
          <ac:picMkLst>
            <pc:docMk/>
            <pc:sldMk cId="183289927" sldId="2146846131"/>
            <ac:picMk id="16" creationId="{00000000-0000-0000-0000-000000000000}"/>
          </ac:picMkLst>
        </pc:picChg>
        <pc:picChg chg="add mod">
          <ac:chgData name="Katerine Schifino" userId="37bb67de-9fcf-4611-888c-7e5b58184a2a" providerId="ADAL" clId="{D7BBC3CB-68AE-4307-9B5F-60512B429BF0}" dt="2022-03-23T20:29:26.949" v="3651" actId="164"/>
          <ac:picMkLst>
            <pc:docMk/>
            <pc:sldMk cId="183289927" sldId="2146846131"/>
            <ac:picMk id="32" creationId="{7B527430-D772-49FA-9FF5-4B1F7DEC31A5}"/>
          </ac:picMkLst>
        </pc:picChg>
        <pc:picChg chg="del">
          <ac:chgData name="Katerine Schifino" userId="37bb67de-9fcf-4611-888c-7e5b58184a2a" providerId="ADAL" clId="{D7BBC3CB-68AE-4307-9B5F-60512B429BF0}" dt="2022-03-23T14:07:25.660" v="1683" actId="478"/>
          <ac:picMkLst>
            <pc:docMk/>
            <pc:sldMk cId="183289927" sldId="2146846131"/>
            <ac:picMk id="33" creationId="{1A0F90CB-D898-47F9-8E1C-9794B06118B0}"/>
          </ac:picMkLst>
        </pc:picChg>
        <pc:cxnChg chg="add mod">
          <ac:chgData name="Katerine Schifino" userId="37bb67de-9fcf-4611-888c-7e5b58184a2a" providerId="ADAL" clId="{D7BBC3CB-68AE-4307-9B5F-60512B429BF0}" dt="2022-03-23T20:31:28.416" v="3748" actId="1038"/>
          <ac:cxnSpMkLst>
            <pc:docMk/>
            <pc:sldMk cId="183289927" sldId="2146846131"/>
            <ac:cxnSpMk id="6" creationId="{0C3186FD-E31F-423A-A4E8-BB3F3245CD0F}"/>
          </ac:cxnSpMkLst>
        </pc:cxnChg>
      </pc:sldChg>
      <pc:sldChg chg="addSp delSp modSp add mod modClrScheme chgLayout">
        <pc:chgData name="Katerine Schifino" userId="37bb67de-9fcf-4611-888c-7e5b58184a2a" providerId="ADAL" clId="{D7BBC3CB-68AE-4307-9B5F-60512B429BF0}" dt="2022-03-23T23:52:32.697" v="9542" actId="1035"/>
        <pc:sldMkLst>
          <pc:docMk/>
          <pc:sldMk cId="2121835659" sldId="2146846132"/>
        </pc:sldMkLst>
        <pc:spChg chg="add mod">
          <ac:chgData name="Katerine Schifino" userId="37bb67de-9fcf-4611-888c-7e5b58184a2a" providerId="ADAL" clId="{D7BBC3CB-68AE-4307-9B5F-60512B429BF0}" dt="2022-03-23T23:52:32.697" v="9542" actId="1035"/>
          <ac:spMkLst>
            <pc:docMk/>
            <pc:sldMk cId="2121835659" sldId="2146846132"/>
            <ac:spMk id="5" creationId="{15A8DF3A-44DA-41D2-B36C-918789273E56}"/>
          </ac:spMkLst>
        </pc:spChg>
        <pc:spChg chg="mod">
          <ac:chgData name="Katerine Schifino" userId="37bb67de-9fcf-4611-888c-7e5b58184a2a" providerId="ADAL" clId="{D7BBC3CB-68AE-4307-9B5F-60512B429BF0}" dt="2022-03-23T23:52:28.488" v="9534" actId="20577"/>
          <ac:spMkLst>
            <pc:docMk/>
            <pc:sldMk cId="2121835659" sldId="2146846132"/>
            <ac:spMk id="6" creationId="{112348B3-0062-49E3-BCA2-B30B6A7D3857}"/>
          </ac:spMkLst>
        </pc:spChg>
        <pc:spChg chg="add mod">
          <ac:chgData name="Katerine Schifino" userId="37bb67de-9fcf-4611-888c-7e5b58184a2a" providerId="ADAL" clId="{D7BBC3CB-68AE-4307-9B5F-60512B429BF0}" dt="2022-03-23T23:52:32.697" v="9542" actId="1035"/>
          <ac:spMkLst>
            <pc:docMk/>
            <pc:sldMk cId="2121835659" sldId="2146846132"/>
            <ac:spMk id="7" creationId="{4428E57D-2C53-44AD-A73F-F279A91A0299}"/>
          </ac:spMkLst>
        </pc:spChg>
        <pc:spChg chg="add mod">
          <ac:chgData name="Katerine Schifino" userId="37bb67de-9fcf-4611-888c-7e5b58184a2a" providerId="ADAL" clId="{D7BBC3CB-68AE-4307-9B5F-60512B429BF0}" dt="2022-03-23T23:52:32.697" v="9542" actId="1035"/>
          <ac:spMkLst>
            <pc:docMk/>
            <pc:sldMk cId="2121835659" sldId="2146846132"/>
            <ac:spMk id="8" creationId="{785A6515-4DBC-4AE7-99FA-B1CE2AF2118B}"/>
          </ac:spMkLst>
        </pc:spChg>
        <pc:spChg chg="add mod">
          <ac:chgData name="Katerine Schifino" userId="37bb67de-9fcf-4611-888c-7e5b58184a2a" providerId="ADAL" clId="{D7BBC3CB-68AE-4307-9B5F-60512B429BF0}" dt="2022-03-23T23:52:32.697" v="9542" actId="1035"/>
          <ac:spMkLst>
            <pc:docMk/>
            <pc:sldMk cId="2121835659" sldId="2146846132"/>
            <ac:spMk id="9" creationId="{F7B3A631-B608-4EA7-800D-5A5B2B826CDC}"/>
          </ac:spMkLst>
        </pc:spChg>
        <pc:spChg chg="add mod">
          <ac:chgData name="Katerine Schifino" userId="37bb67de-9fcf-4611-888c-7e5b58184a2a" providerId="ADAL" clId="{D7BBC3CB-68AE-4307-9B5F-60512B429BF0}" dt="2022-03-23T23:52:32.697" v="9542" actId="1035"/>
          <ac:spMkLst>
            <pc:docMk/>
            <pc:sldMk cId="2121835659" sldId="2146846132"/>
            <ac:spMk id="10" creationId="{A954AE6A-A630-478A-9E5B-ED3B397ABF0B}"/>
          </ac:spMkLst>
        </pc:spChg>
        <pc:spChg chg="add mod">
          <ac:chgData name="Katerine Schifino" userId="37bb67de-9fcf-4611-888c-7e5b58184a2a" providerId="ADAL" clId="{D7BBC3CB-68AE-4307-9B5F-60512B429BF0}" dt="2022-03-23T23:52:32.697" v="9542" actId="1035"/>
          <ac:spMkLst>
            <pc:docMk/>
            <pc:sldMk cId="2121835659" sldId="2146846132"/>
            <ac:spMk id="11" creationId="{65B24496-2568-4B4A-8D63-A134EC63B924}"/>
          </ac:spMkLst>
        </pc:spChg>
        <pc:spChg chg="add mod">
          <ac:chgData name="Katerine Schifino" userId="37bb67de-9fcf-4611-888c-7e5b58184a2a" providerId="ADAL" clId="{D7BBC3CB-68AE-4307-9B5F-60512B429BF0}" dt="2022-03-23T23:52:32.697" v="9542" actId="1035"/>
          <ac:spMkLst>
            <pc:docMk/>
            <pc:sldMk cId="2121835659" sldId="2146846132"/>
            <ac:spMk id="12" creationId="{62E22097-3D80-4D4A-BFB7-2B65B0C39E8B}"/>
          </ac:spMkLst>
        </pc:spChg>
        <pc:spChg chg="add mod">
          <ac:chgData name="Katerine Schifino" userId="37bb67de-9fcf-4611-888c-7e5b58184a2a" providerId="ADAL" clId="{D7BBC3CB-68AE-4307-9B5F-60512B429BF0}" dt="2022-03-23T23:52:32.697" v="9542" actId="1035"/>
          <ac:spMkLst>
            <pc:docMk/>
            <pc:sldMk cId="2121835659" sldId="2146846132"/>
            <ac:spMk id="13" creationId="{67B387A4-2918-4F25-8105-1F4861F39F75}"/>
          </ac:spMkLst>
        </pc:spChg>
        <pc:spChg chg="add mod">
          <ac:chgData name="Katerine Schifino" userId="37bb67de-9fcf-4611-888c-7e5b58184a2a" providerId="ADAL" clId="{D7BBC3CB-68AE-4307-9B5F-60512B429BF0}" dt="2022-03-23T16:33:08.568" v="2558" actId="1076"/>
          <ac:spMkLst>
            <pc:docMk/>
            <pc:sldMk cId="2121835659" sldId="2146846132"/>
            <ac:spMk id="14" creationId="{AAD841DA-0B2B-4C3A-8EFC-48C651693FFC}"/>
          </ac:spMkLst>
        </pc:spChg>
        <pc:picChg chg="del">
          <ac:chgData name="Katerine Schifino" userId="37bb67de-9fcf-4611-888c-7e5b58184a2a" providerId="ADAL" clId="{D7BBC3CB-68AE-4307-9B5F-60512B429BF0}" dt="2022-03-23T16:23:11.828" v="2443" actId="478"/>
          <ac:picMkLst>
            <pc:docMk/>
            <pc:sldMk cId="2121835659" sldId="2146846132"/>
            <ac:picMk id="5124" creationId="{3AF1774A-4826-4DB3-A8CA-AAEA509EEBC6}"/>
          </ac:picMkLst>
        </pc:picChg>
      </pc:sldChg>
      <pc:sldChg chg="addSp delSp modSp add mod modClrScheme chgLayout">
        <pc:chgData name="Katerine Schifino" userId="37bb67de-9fcf-4611-888c-7e5b58184a2a" providerId="ADAL" clId="{D7BBC3CB-68AE-4307-9B5F-60512B429BF0}" dt="2022-03-23T19:09:55.414" v="3155" actId="13926"/>
        <pc:sldMkLst>
          <pc:docMk/>
          <pc:sldMk cId="126793636" sldId="2146846133"/>
        </pc:sldMkLst>
        <pc:spChg chg="add mod">
          <ac:chgData name="Katerine Schifino" userId="37bb67de-9fcf-4611-888c-7e5b58184a2a" providerId="ADAL" clId="{D7BBC3CB-68AE-4307-9B5F-60512B429BF0}" dt="2022-03-23T19:08:55.420" v="3146" actId="403"/>
          <ac:spMkLst>
            <pc:docMk/>
            <pc:sldMk cId="126793636" sldId="2146846133"/>
            <ac:spMk id="7" creationId="{0CADDD27-31EC-44C6-9DB6-421E7976899F}"/>
          </ac:spMkLst>
        </pc:spChg>
        <pc:spChg chg="add mod">
          <ac:chgData name="Katerine Schifino" userId="37bb67de-9fcf-4611-888c-7e5b58184a2a" providerId="ADAL" clId="{D7BBC3CB-68AE-4307-9B5F-60512B429BF0}" dt="2022-03-23T19:09:55.414" v="3155" actId="13926"/>
          <ac:spMkLst>
            <pc:docMk/>
            <pc:sldMk cId="126793636" sldId="2146846133"/>
            <ac:spMk id="8" creationId="{F8E5689C-2193-43FC-8C21-EF0B6D1B69BE}"/>
          </ac:spMkLst>
        </pc:spChg>
        <pc:spChg chg="mod">
          <ac:chgData name="Katerine Schifino" userId="37bb67de-9fcf-4611-888c-7e5b58184a2a" providerId="ADAL" clId="{D7BBC3CB-68AE-4307-9B5F-60512B429BF0}" dt="2022-03-23T19:04:23.613" v="2763" actId="1076"/>
          <ac:spMkLst>
            <pc:docMk/>
            <pc:sldMk cId="126793636" sldId="2146846133"/>
            <ac:spMk id="145" creationId="{1597BE75-79C6-4C1B-9721-0E1BBD8760D8}"/>
          </ac:spMkLst>
        </pc:spChg>
        <pc:graphicFrameChg chg="del">
          <ac:chgData name="Katerine Schifino" userId="37bb67de-9fcf-4611-888c-7e5b58184a2a" providerId="ADAL" clId="{D7BBC3CB-68AE-4307-9B5F-60512B429BF0}" dt="2022-03-23T18:58:10.367" v="2598" actId="478"/>
          <ac:graphicFrameMkLst>
            <pc:docMk/>
            <pc:sldMk cId="126793636" sldId="2146846133"/>
            <ac:graphicFrameMk id="2" creationId="{DABEA71B-03AC-48AD-8E3A-F5B4F36922D0}"/>
          </ac:graphicFrameMkLst>
        </pc:graphicFrameChg>
        <pc:picChg chg="add del mod">
          <ac:chgData name="Katerine Schifino" userId="37bb67de-9fcf-4611-888c-7e5b58184a2a" providerId="ADAL" clId="{D7BBC3CB-68AE-4307-9B5F-60512B429BF0}" dt="2022-03-23T19:02:19.965" v="2646" actId="478"/>
          <ac:picMkLst>
            <pc:docMk/>
            <pc:sldMk cId="126793636" sldId="2146846133"/>
            <ac:picMk id="1026" creationId="{A978A341-CE34-44F7-999D-8EAF38D1F957}"/>
          </ac:picMkLst>
        </pc:picChg>
        <pc:picChg chg="add mod">
          <ac:chgData name="Katerine Schifino" userId="37bb67de-9fcf-4611-888c-7e5b58184a2a" providerId="ADAL" clId="{D7BBC3CB-68AE-4307-9B5F-60512B429BF0}" dt="2022-03-23T19:08:58.820" v="3147" actId="14100"/>
          <ac:picMkLst>
            <pc:docMk/>
            <pc:sldMk cId="126793636" sldId="2146846133"/>
            <ac:picMk id="1028" creationId="{80FAAF83-C911-4648-B4ED-F4E147D14B5B}"/>
          </ac:picMkLst>
        </pc:picChg>
        <pc:cxnChg chg="del">
          <ac:chgData name="Katerine Schifino" userId="37bb67de-9fcf-4611-888c-7e5b58184a2a" providerId="ADAL" clId="{D7BBC3CB-68AE-4307-9B5F-60512B429BF0}" dt="2022-03-23T18:58:28.241" v="2601" actId="478"/>
          <ac:cxnSpMkLst>
            <pc:docMk/>
            <pc:sldMk cId="126793636" sldId="2146846133"/>
            <ac:cxnSpMk id="9" creationId="{9E5C6AC8-A058-496E-AF83-5C015EC4396D}"/>
          </ac:cxnSpMkLst>
        </pc:cxnChg>
      </pc:sldChg>
      <pc:sldChg chg="addSp delSp modSp add mod">
        <pc:chgData name="Katerine Schifino" userId="37bb67de-9fcf-4611-888c-7e5b58184a2a" providerId="ADAL" clId="{D7BBC3CB-68AE-4307-9B5F-60512B429BF0}" dt="2022-03-23T21:17:38.624" v="5135" actId="1036"/>
        <pc:sldMkLst>
          <pc:docMk/>
          <pc:sldMk cId="2897237463" sldId="2146846134"/>
        </pc:sldMkLst>
        <pc:spChg chg="del mod">
          <ac:chgData name="Katerine Schifino" userId="37bb67de-9fcf-4611-888c-7e5b58184a2a" providerId="ADAL" clId="{D7BBC3CB-68AE-4307-9B5F-60512B429BF0}" dt="2022-03-23T21:17:24.383" v="5101"/>
          <ac:spMkLst>
            <pc:docMk/>
            <pc:sldMk cId="2897237463" sldId="2146846134"/>
            <ac:spMk id="7" creationId="{B3934FC6-F527-444C-9050-A9ECA6CF635F}"/>
          </ac:spMkLst>
        </pc:spChg>
        <pc:spChg chg="mod">
          <ac:chgData name="Katerine Schifino" userId="37bb67de-9fcf-4611-888c-7e5b58184a2a" providerId="ADAL" clId="{D7BBC3CB-68AE-4307-9B5F-60512B429BF0}" dt="2022-03-23T21:17:31.668" v="5121" actId="1035"/>
          <ac:spMkLst>
            <pc:docMk/>
            <pc:sldMk cId="2897237463" sldId="2146846134"/>
            <ac:spMk id="20" creationId="{9ADF1B7E-0958-4ED6-9413-88B4915CF8A8}"/>
          </ac:spMkLst>
        </pc:spChg>
        <pc:spChg chg="mod">
          <ac:chgData name="Katerine Schifino" userId="37bb67de-9fcf-4611-888c-7e5b58184a2a" providerId="ADAL" clId="{D7BBC3CB-68AE-4307-9B5F-60512B429BF0}" dt="2022-03-23T21:17:31.668" v="5121" actId="1035"/>
          <ac:spMkLst>
            <pc:docMk/>
            <pc:sldMk cId="2897237463" sldId="2146846134"/>
            <ac:spMk id="24" creationId="{1CD37BB6-74CD-4C39-B0B9-2B4CB7DFB18B}"/>
          </ac:spMkLst>
        </pc:spChg>
        <pc:spChg chg="add mod">
          <ac:chgData name="Katerine Schifino" userId="37bb67de-9fcf-4611-888c-7e5b58184a2a" providerId="ADAL" clId="{D7BBC3CB-68AE-4307-9B5F-60512B429BF0}" dt="2022-03-23T21:17:23.982" v="5099" actId="207"/>
          <ac:spMkLst>
            <pc:docMk/>
            <pc:sldMk cId="2897237463" sldId="2146846134"/>
            <ac:spMk id="27" creationId="{B5ECC814-57B4-48D7-85E4-4EA4DF740BDC}"/>
          </ac:spMkLst>
        </pc:spChg>
        <pc:spChg chg="del">
          <ac:chgData name="Katerine Schifino" userId="37bb67de-9fcf-4611-888c-7e5b58184a2a" providerId="ADAL" clId="{D7BBC3CB-68AE-4307-9B5F-60512B429BF0}" dt="2022-03-23T21:17:12.443" v="5093" actId="478"/>
          <ac:spMkLst>
            <pc:docMk/>
            <pc:sldMk cId="2897237463" sldId="2146846134"/>
            <ac:spMk id="37" creationId="{6FE83AC4-C052-49C7-B409-A12A105CF3C5}"/>
          </ac:spMkLst>
        </pc:spChg>
        <pc:spChg chg="mod">
          <ac:chgData name="Katerine Schifino" userId="37bb67de-9fcf-4611-888c-7e5b58184a2a" providerId="ADAL" clId="{D7BBC3CB-68AE-4307-9B5F-60512B429BF0}" dt="2022-03-23T21:17:38.624" v="5135" actId="1036"/>
          <ac:spMkLst>
            <pc:docMk/>
            <pc:sldMk cId="2897237463" sldId="2146846134"/>
            <ac:spMk id="38" creationId="{9F637805-F0FB-49D0-816C-BFD0A27CFBFA}"/>
          </ac:spMkLst>
        </pc:spChg>
        <pc:spChg chg="mod">
          <ac:chgData name="Katerine Schifino" userId="37bb67de-9fcf-4611-888c-7e5b58184a2a" providerId="ADAL" clId="{D7BBC3CB-68AE-4307-9B5F-60512B429BF0}" dt="2022-03-23T20:52:18.663" v="4634" actId="1036"/>
          <ac:spMkLst>
            <pc:docMk/>
            <pc:sldMk cId="2897237463" sldId="2146846134"/>
            <ac:spMk id="39" creationId="{B47ACD29-B920-4C02-B145-117C44414EE0}"/>
          </ac:spMkLst>
        </pc:spChg>
        <pc:spChg chg="mod">
          <ac:chgData name="Katerine Schifino" userId="37bb67de-9fcf-4611-888c-7e5b58184a2a" providerId="ADAL" clId="{D7BBC3CB-68AE-4307-9B5F-60512B429BF0}" dt="2022-03-23T21:17:31.668" v="5121" actId="1035"/>
          <ac:spMkLst>
            <pc:docMk/>
            <pc:sldMk cId="2897237463" sldId="2146846134"/>
            <ac:spMk id="40" creationId="{1EFB2BC4-DCD9-4BBE-85CD-6E874E708F7E}"/>
          </ac:spMkLst>
        </pc:spChg>
        <pc:spChg chg="mod">
          <ac:chgData name="Katerine Schifino" userId="37bb67de-9fcf-4611-888c-7e5b58184a2a" providerId="ADAL" clId="{D7BBC3CB-68AE-4307-9B5F-60512B429BF0}" dt="2022-03-23T21:17:38.624" v="5135" actId="1036"/>
          <ac:spMkLst>
            <pc:docMk/>
            <pc:sldMk cId="2897237463" sldId="2146846134"/>
            <ac:spMk id="41" creationId="{085C9CC8-9FE1-4D4D-8F4D-CA6519036377}"/>
          </ac:spMkLst>
        </pc:spChg>
        <pc:spChg chg="mod">
          <ac:chgData name="Katerine Schifino" userId="37bb67de-9fcf-4611-888c-7e5b58184a2a" providerId="ADAL" clId="{D7BBC3CB-68AE-4307-9B5F-60512B429BF0}" dt="2022-03-23T20:52:29.899" v="4636" actId="1076"/>
          <ac:spMkLst>
            <pc:docMk/>
            <pc:sldMk cId="2897237463" sldId="2146846134"/>
            <ac:spMk id="42" creationId="{08F0BCA2-AC60-4D91-AE64-3259D89923AD}"/>
          </ac:spMkLst>
        </pc:spChg>
        <pc:spChg chg="mod">
          <ac:chgData name="Katerine Schifino" userId="37bb67de-9fcf-4611-888c-7e5b58184a2a" providerId="ADAL" clId="{D7BBC3CB-68AE-4307-9B5F-60512B429BF0}" dt="2022-03-23T21:17:31.668" v="5121" actId="1035"/>
          <ac:spMkLst>
            <pc:docMk/>
            <pc:sldMk cId="2897237463" sldId="2146846134"/>
            <ac:spMk id="43" creationId="{A9023C9B-DE12-4F70-84A4-868E09BBD91E}"/>
          </ac:spMkLst>
        </pc:spChg>
        <pc:spChg chg="mod">
          <ac:chgData name="Katerine Schifino" userId="37bb67de-9fcf-4611-888c-7e5b58184a2a" providerId="ADAL" clId="{D7BBC3CB-68AE-4307-9B5F-60512B429BF0}" dt="2022-03-23T21:17:38.624" v="5135" actId="1036"/>
          <ac:spMkLst>
            <pc:docMk/>
            <pc:sldMk cId="2897237463" sldId="2146846134"/>
            <ac:spMk id="44" creationId="{A8DED7F7-5D0D-46C2-B44E-480C6173B042}"/>
          </ac:spMkLst>
        </pc:spChg>
        <pc:spChg chg="mod">
          <ac:chgData name="Katerine Schifino" userId="37bb67de-9fcf-4611-888c-7e5b58184a2a" providerId="ADAL" clId="{D7BBC3CB-68AE-4307-9B5F-60512B429BF0}" dt="2022-03-23T21:17:38.624" v="5135" actId="1036"/>
          <ac:spMkLst>
            <pc:docMk/>
            <pc:sldMk cId="2897237463" sldId="2146846134"/>
            <ac:spMk id="45" creationId="{2FB71E4B-5C93-49D0-B4F9-D5D557832C67}"/>
          </ac:spMkLst>
        </pc:spChg>
        <pc:spChg chg="mod">
          <ac:chgData name="Katerine Schifino" userId="37bb67de-9fcf-4611-888c-7e5b58184a2a" providerId="ADAL" clId="{D7BBC3CB-68AE-4307-9B5F-60512B429BF0}" dt="2022-03-23T20:58:42.385" v="4891" actId="20577"/>
          <ac:spMkLst>
            <pc:docMk/>
            <pc:sldMk cId="2897237463" sldId="2146846134"/>
            <ac:spMk id="46" creationId="{1FA59CE8-49EC-4EFB-AA26-4D9BB9CD446C}"/>
          </ac:spMkLst>
        </pc:spChg>
        <pc:spChg chg="mod">
          <ac:chgData name="Katerine Schifino" userId="37bb67de-9fcf-4611-888c-7e5b58184a2a" providerId="ADAL" clId="{D7BBC3CB-68AE-4307-9B5F-60512B429BF0}" dt="2022-03-23T20:52:15.336" v="4620" actId="1036"/>
          <ac:spMkLst>
            <pc:docMk/>
            <pc:sldMk cId="2897237463" sldId="2146846134"/>
            <ac:spMk id="47" creationId="{43D377F3-EC34-4C92-BD09-E7D8D7BAD919}"/>
          </ac:spMkLst>
        </pc:spChg>
        <pc:spChg chg="mod">
          <ac:chgData name="Katerine Schifino" userId="37bb67de-9fcf-4611-888c-7e5b58184a2a" providerId="ADAL" clId="{D7BBC3CB-68AE-4307-9B5F-60512B429BF0}" dt="2022-03-23T21:17:31.668" v="5121" actId="1035"/>
          <ac:spMkLst>
            <pc:docMk/>
            <pc:sldMk cId="2897237463" sldId="2146846134"/>
            <ac:spMk id="48" creationId="{069EE235-0DBC-44D2-94ED-C8F4110FB350}"/>
          </ac:spMkLst>
        </pc:spChg>
        <pc:spChg chg="mod">
          <ac:chgData name="Katerine Schifino" userId="37bb67de-9fcf-4611-888c-7e5b58184a2a" providerId="ADAL" clId="{D7BBC3CB-68AE-4307-9B5F-60512B429BF0}" dt="2022-03-23T21:17:31.668" v="5121" actId="1035"/>
          <ac:spMkLst>
            <pc:docMk/>
            <pc:sldMk cId="2897237463" sldId="2146846134"/>
            <ac:spMk id="49" creationId="{39ABC239-5BAD-4410-A2ED-4CB262FD48AC}"/>
          </ac:spMkLst>
        </pc:spChg>
        <pc:spChg chg="mod">
          <ac:chgData name="Katerine Schifino" userId="37bb67de-9fcf-4611-888c-7e5b58184a2a" providerId="ADAL" clId="{D7BBC3CB-68AE-4307-9B5F-60512B429BF0}" dt="2022-03-23T21:17:38.624" v="5135" actId="1036"/>
          <ac:spMkLst>
            <pc:docMk/>
            <pc:sldMk cId="2897237463" sldId="2146846134"/>
            <ac:spMk id="50" creationId="{7D41C6F1-B031-4786-9B5F-63E1C0B55828}"/>
          </ac:spMkLst>
        </pc:spChg>
        <pc:spChg chg="mod">
          <ac:chgData name="Katerine Schifino" userId="37bb67de-9fcf-4611-888c-7e5b58184a2a" providerId="ADAL" clId="{D7BBC3CB-68AE-4307-9B5F-60512B429BF0}" dt="2022-03-23T21:17:38.624" v="5135" actId="1036"/>
          <ac:spMkLst>
            <pc:docMk/>
            <pc:sldMk cId="2897237463" sldId="2146846134"/>
            <ac:spMk id="51" creationId="{5D6B013A-2856-45A0-A354-A3B685C8DB4F}"/>
          </ac:spMkLst>
        </pc:spChg>
        <pc:spChg chg="mod">
          <ac:chgData name="Katerine Schifino" userId="37bb67de-9fcf-4611-888c-7e5b58184a2a" providerId="ADAL" clId="{D7BBC3CB-68AE-4307-9B5F-60512B429BF0}" dt="2022-03-23T20:54:47.957" v="4720" actId="20577"/>
          <ac:spMkLst>
            <pc:docMk/>
            <pc:sldMk cId="2897237463" sldId="2146846134"/>
            <ac:spMk id="52" creationId="{A7C364FC-CDB6-40B2-9422-2D97EE848DEC}"/>
          </ac:spMkLst>
        </pc:spChg>
        <pc:spChg chg="mod">
          <ac:chgData name="Katerine Schifino" userId="37bb67de-9fcf-4611-888c-7e5b58184a2a" providerId="ADAL" clId="{D7BBC3CB-68AE-4307-9B5F-60512B429BF0}" dt="2022-03-23T20:56:27.376" v="4868" actId="6549"/>
          <ac:spMkLst>
            <pc:docMk/>
            <pc:sldMk cId="2897237463" sldId="2146846134"/>
            <ac:spMk id="53" creationId="{916E5172-5444-40AC-B0E7-8EEB0C9A3C67}"/>
          </ac:spMkLst>
        </pc:spChg>
      </pc:sldChg>
      <pc:sldChg chg="addSp delSp modSp add mod ord modNotesTx">
        <pc:chgData name="Katerine Schifino" userId="37bb67de-9fcf-4611-888c-7e5b58184a2a" providerId="ADAL" clId="{D7BBC3CB-68AE-4307-9B5F-60512B429BF0}" dt="2022-03-23T23:41:21.001" v="9518" actId="20577"/>
        <pc:sldMkLst>
          <pc:docMk/>
          <pc:sldMk cId="3424299804" sldId="2146846135"/>
        </pc:sldMkLst>
        <pc:spChg chg="del">
          <ac:chgData name="Katerine Schifino" userId="37bb67de-9fcf-4611-888c-7e5b58184a2a" providerId="ADAL" clId="{D7BBC3CB-68AE-4307-9B5F-60512B429BF0}" dt="2022-03-23T21:41:02.370" v="5613" actId="478"/>
          <ac:spMkLst>
            <pc:docMk/>
            <pc:sldMk cId="3424299804" sldId="2146846135"/>
            <ac:spMk id="3" creationId="{F37952A8-26A7-4620-BB6E-749B2F7FE437}"/>
          </ac:spMkLst>
        </pc:spChg>
        <pc:spChg chg="mod">
          <ac:chgData name="Katerine Schifino" userId="37bb67de-9fcf-4611-888c-7e5b58184a2a" providerId="ADAL" clId="{D7BBC3CB-68AE-4307-9B5F-60512B429BF0}" dt="2022-03-23T23:33:16.337" v="8931" actId="114"/>
          <ac:spMkLst>
            <pc:docMk/>
            <pc:sldMk cId="3424299804" sldId="2146846135"/>
            <ac:spMk id="4" creationId="{CD3B507D-B343-498F-97D5-78CBF4589AAB}"/>
          </ac:spMkLst>
        </pc:spChg>
        <pc:spChg chg="add mod">
          <ac:chgData name="Katerine Schifino" userId="37bb67de-9fcf-4611-888c-7e5b58184a2a" providerId="ADAL" clId="{D7BBC3CB-68AE-4307-9B5F-60512B429BF0}" dt="2022-03-23T23:29:16.960" v="8818" actId="14100"/>
          <ac:spMkLst>
            <pc:docMk/>
            <pc:sldMk cId="3424299804" sldId="2146846135"/>
            <ac:spMk id="29" creationId="{AC912CE1-71EF-4250-8EA0-0DDA67063F18}"/>
          </ac:spMkLst>
        </pc:spChg>
        <pc:spChg chg="del">
          <ac:chgData name="Katerine Schifino" userId="37bb67de-9fcf-4611-888c-7e5b58184a2a" providerId="ADAL" clId="{D7BBC3CB-68AE-4307-9B5F-60512B429BF0}" dt="2022-03-23T21:41:02.370" v="5613" actId="478"/>
          <ac:spMkLst>
            <pc:docMk/>
            <pc:sldMk cId="3424299804" sldId="2146846135"/>
            <ac:spMk id="55" creationId="{693BE602-C9B4-412A-8447-FDCBB931768E}"/>
          </ac:spMkLst>
        </pc:spChg>
        <pc:spChg chg="add mod">
          <ac:chgData name="Katerine Schifino" userId="37bb67de-9fcf-4611-888c-7e5b58184a2a" providerId="ADAL" clId="{D7BBC3CB-68AE-4307-9B5F-60512B429BF0}" dt="2022-03-23T23:29:09.220" v="8816" actId="403"/>
          <ac:spMkLst>
            <pc:docMk/>
            <pc:sldMk cId="3424299804" sldId="2146846135"/>
            <ac:spMk id="56" creationId="{B46C1083-1642-4043-8CB4-E3CEDA2CFB1E}"/>
          </ac:spMkLst>
        </pc:spChg>
        <pc:spChg chg="add mod">
          <ac:chgData name="Katerine Schifino" userId="37bb67de-9fcf-4611-888c-7e5b58184a2a" providerId="ADAL" clId="{D7BBC3CB-68AE-4307-9B5F-60512B429BF0}" dt="2022-03-23T23:33:32.609" v="8935" actId="1076"/>
          <ac:spMkLst>
            <pc:docMk/>
            <pc:sldMk cId="3424299804" sldId="2146846135"/>
            <ac:spMk id="64" creationId="{E2A1B381-8D93-4A35-BB90-6547B7AF5416}"/>
          </ac:spMkLst>
        </pc:spChg>
        <pc:spChg chg="add mod">
          <ac:chgData name="Katerine Schifino" userId="37bb67de-9fcf-4611-888c-7e5b58184a2a" providerId="ADAL" clId="{D7BBC3CB-68AE-4307-9B5F-60512B429BF0}" dt="2022-03-23T23:37:47.504" v="9117" actId="113"/>
          <ac:spMkLst>
            <pc:docMk/>
            <pc:sldMk cId="3424299804" sldId="2146846135"/>
            <ac:spMk id="65" creationId="{2D059A3F-9F75-4168-8707-F65A92010CB3}"/>
          </ac:spMkLst>
        </pc:spChg>
        <pc:spChg chg="add mod">
          <ac:chgData name="Katerine Schifino" userId="37bb67de-9fcf-4611-888c-7e5b58184a2a" providerId="ADAL" clId="{D7BBC3CB-68AE-4307-9B5F-60512B429BF0}" dt="2022-03-23T23:40:07.659" v="9367" actId="20577"/>
          <ac:spMkLst>
            <pc:docMk/>
            <pc:sldMk cId="3424299804" sldId="2146846135"/>
            <ac:spMk id="66" creationId="{3DD6027A-F97B-4C13-8192-41677BFDC63C}"/>
          </ac:spMkLst>
        </pc:spChg>
        <pc:spChg chg="add mod">
          <ac:chgData name="Katerine Schifino" userId="37bb67de-9fcf-4611-888c-7e5b58184a2a" providerId="ADAL" clId="{D7BBC3CB-68AE-4307-9B5F-60512B429BF0}" dt="2022-03-23T23:40:31.754" v="9396" actId="20577"/>
          <ac:spMkLst>
            <pc:docMk/>
            <pc:sldMk cId="3424299804" sldId="2146846135"/>
            <ac:spMk id="67" creationId="{E1A64BB7-1DB4-41FC-9EB1-B443634F2116}"/>
          </ac:spMkLst>
        </pc:spChg>
        <pc:spChg chg="add mod">
          <ac:chgData name="Katerine Schifino" userId="37bb67de-9fcf-4611-888c-7e5b58184a2a" providerId="ADAL" clId="{D7BBC3CB-68AE-4307-9B5F-60512B429BF0}" dt="2022-03-23T23:41:21.001" v="9518" actId="20577"/>
          <ac:spMkLst>
            <pc:docMk/>
            <pc:sldMk cId="3424299804" sldId="2146846135"/>
            <ac:spMk id="68" creationId="{6BDF7D48-EAED-4B84-A1DC-098864858910}"/>
          </ac:spMkLst>
        </pc:spChg>
        <pc:grpChg chg="del">
          <ac:chgData name="Katerine Schifino" userId="37bb67de-9fcf-4611-888c-7e5b58184a2a" providerId="ADAL" clId="{D7BBC3CB-68AE-4307-9B5F-60512B429BF0}" dt="2022-03-23T21:13:17.550" v="4927" actId="478"/>
          <ac:grpSpMkLst>
            <pc:docMk/>
            <pc:sldMk cId="3424299804" sldId="2146846135"/>
            <ac:grpSpMk id="6" creationId="{261DB4A7-4C07-46D7-916D-B61EDC194383}"/>
          </ac:grpSpMkLst>
        </pc:grpChg>
        <pc:grpChg chg="del">
          <ac:chgData name="Katerine Schifino" userId="37bb67de-9fcf-4611-888c-7e5b58184a2a" providerId="ADAL" clId="{D7BBC3CB-68AE-4307-9B5F-60512B429BF0}" dt="2022-03-23T21:41:02.370" v="5613" actId="478"/>
          <ac:grpSpMkLst>
            <pc:docMk/>
            <pc:sldMk cId="3424299804" sldId="2146846135"/>
            <ac:grpSpMk id="54" creationId="{C8CACEA6-0212-4EFD-B253-05AA389E4D94}"/>
          </ac:grpSpMkLst>
        </pc:grpChg>
        <pc:picChg chg="add del mod">
          <ac:chgData name="Katerine Schifino" userId="37bb67de-9fcf-4611-888c-7e5b58184a2a" providerId="ADAL" clId="{D7BBC3CB-68AE-4307-9B5F-60512B429BF0}" dt="2022-03-23T23:07:54.172" v="8527" actId="478"/>
          <ac:picMkLst>
            <pc:docMk/>
            <pc:sldMk cId="3424299804" sldId="2146846135"/>
            <ac:picMk id="24" creationId="{EA8C8C83-03CB-4FA8-B4BC-BCB9DB1F314E}"/>
          </ac:picMkLst>
        </pc:picChg>
        <pc:picChg chg="add del mod">
          <ac:chgData name="Katerine Schifino" userId="37bb67de-9fcf-4611-888c-7e5b58184a2a" providerId="ADAL" clId="{D7BBC3CB-68AE-4307-9B5F-60512B429BF0}" dt="2022-03-23T23:39:44.801" v="9347" actId="478"/>
          <ac:picMkLst>
            <pc:docMk/>
            <pc:sldMk cId="3424299804" sldId="2146846135"/>
            <ac:picMk id="26" creationId="{6A687DC8-5D87-4050-999A-B5733A0AED45}"/>
          </ac:picMkLst>
        </pc:picChg>
        <pc:picChg chg="add mod">
          <ac:chgData name="Katerine Schifino" userId="37bb67de-9fcf-4611-888c-7e5b58184a2a" providerId="ADAL" clId="{D7BBC3CB-68AE-4307-9B5F-60512B429BF0}" dt="2022-03-23T23:27:27.952" v="8716" actId="1076"/>
          <ac:picMkLst>
            <pc:docMk/>
            <pc:sldMk cId="3424299804" sldId="2146846135"/>
            <ac:picMk id="28" creationId="{3293A6C5-7385-47C4-92CA-7B83DA47BCB5}"/>
          </ac:picMkLst>
        </pc:picChg>
        <pc:picChg chg="add mod">
          <ac:chgData name="Katerine Schifino" userId="37bb67de-9fcf-4611-888c-7e5b58184a2a" providerId="ADAL" clId="{D7BBC3CB-68AE-4307-9B5F-60512B429BF0}" dt="2022-03-23T23:31:38.459" v="8899" actId="1076"/>
          <ac:picMkLst>
            <pc:docMk/>
            <pc:sldMk cId="3424299804" sldId="2146846135"/>
            <ac:picMk id="31" creationId="{8217D5D6-2F7E-454D-BCBA-E809FA460033}"/>
          </ac:picMkLst>
        </pc:picChg>
        <pc:cxnChg chg="add mod">
          <ac:chgData name="Katerine Schifino" userId="37bb67de-9fcf-4611-888c-7e5b58184a2a" providerId="ADAL" clId="{D7BBC3CB-68AE-4307-9B5F-60512B429BF0}" dt="2022-03-23T23:32:16.853" v="8902" actId="208"/>
          <ac:cxnSpMkLst>
            <pc:docMk/>
            <pc:sldMk cId="3424299804" sldId="2146846135"/>
            <ac:cxnSpMk id="33" creationId="{8CDC28B1-3ACD-412A-9181-EE82D994C5FB}"/>
          </ac:cxnSpMkLst>
        </pc:cxnChg>
        <pc:cxnChg chg="add mod">
          <ac:chgData name="Katerine Schifino" userId="37bb67de-9fcf-4611-888c-7e5b58184a2a" providerId="ADAL" clId="{D7BBC3CB-68AE-4307-9B5F-60512B429BF0}" dt="2022-03-23T23:32:23.231" v="8904" actId="1076"/>
          <ac:cxnSpMkLst>
            <pc:docMk/>
            <pc:sldMk cId="3424299804" sldId="2146846135"/>
            <ac:cxnSpMk id="69" creationId="{C78D7933-7CBF-4273-A322-845C29D2A6D3}"/>
          </ac:cxnSpMkLst>
        </pc:cxnChg>
        <pc:cxnChg chg="add mod">
          <ac:chgData name="Katerine Schifino" userId="37bb67de-9fcf-4611-888c-7e5b58184a2a" providerId="ADAL" clId="{D7BBC3CB-68AE-4307-9B5F-60512B429BF0}" dt="2022-03-23T23:32:28.637" v="8906" actId="1076"/>
          <ac:cxnSpMkLst>
            <pc:docMk/>
            <pc:sldMk cId="3424299804" sldId="2146846135"/>
            <ac:cxnSpMk id="70" creationId="{8C353DFB-E651-4E60-B98C-190D9832BC88}"/>
          </ac:cxnSpMkLst>
        </pc:cxnChg>
        <pc:cxnChg chg="add mod">
          <ac:chgData name="Katerine Schifino" userId="37bb67de-9fcf-4611-888c-7e5b58184a2a" providerId="ADAL" clId="{D7BBC3CB-68AE-4307-9B5F-60512B429BF0}" dt="2022-03-23T23:32:32.708" v="8908" actId="1076"/>
          <ac:cxnSpMkLst>
            <pc:docMk/>
            <pc:sldMk cId="3424299804" sldId="2146846135"/>
            <ac:cxnSpMk id="71" creationId="{882D773D-340D-412D-AA74-4877CA5C1764}"/>
          </ac:cxnSpMkLst>
        </pc:cxnChg>
        <pc:cxnChg chg="add mod">
          <ac:chgData name="Katerine Schifino" userId="37bb67de-9fcf-4611-888c-7e5b58184a2a" providerId="ADAL" clId="{D7BBC3CB-68AE-4307-9B5F-60512B429BF0}" dt="2022-03-23T23:32:36.786" v="8910" actId="1076"/>
          <ac:cxnSpMkLst>
            <pc:docMk/>
            <pc:sldMk cId="3424299804" sldId="2146846135"/>
            <ac:cxnSpMk id="72" creationId="{520948AB-A8D3-4981-9806-5E6F483F06BE}"/>
          </ac:cxnSpMkLst>
        </pc:cxnChg>
      </pc:sldChg>
      <pc:sldChg chg="delSp modSp add del mod">
        <pc:chgData name="Katerine Schifino" userId="37bb67de-9fcf-4611-888c-7e5b58184a2a" providerId="ADAL" clId="{D7BBC3CB-68AE-4307-9B5F-60512B429BF0}" dt="2022-03-23T22:51:22.615" v="8340" actId="47"/>
        <pc:sldMkLst>
          <pc:docMk/>
          <pc:sldMk cId="3283013631" sldId="2146846136"/>
        </pc:sldMkLst>
        <pc:spChg chg="del">
          <ac:chgData name="Katerine Schifino" userId="37bb67de-9fcf-4611-888c-7e5b58184a2a" providerId="ADAL" clId="{D7BBC3CB-68AE-4307-9B5F-60512B429BF0}" dt="2022-03-23T21:16:31.383" v="5082" actId="478"/>
          <ac:spMkLst>
            <pc:docMk/>
            <pc:sldMk cId="3283013631" sldId="2146846136"/>
            <ac:spMk id="3" creationId="{F37952A8-26A7-4620-BB6E-749B2F7FE437}"/>
          </ac:spMkLst>
        </pc:spChg>
        <pc:spChg chg="mod">
          <ac:chgData name="Katerine Schifino" userId="37bb67de-9fcf-4611-888c-7e5b58184a2a" providerId="ADAL" clId="{D7BBC3CB-68AE-4307-9B5F-60512B429BF0}" dt="2022-03-23T21:16:27.450" v="5081" actId="20577"/>
          <ac:spMkLst>
            <pc:docMk/>
            <pc:sldMk cId="3283013631" sldId="2146846136"/>
            <ac:spMk id="4" creationId="{CD3B507D-B343-498F-97D5-78CBF4589AAB}"/>
          </ac:spMkLst>
        </pc:spChg>
        <pc:spChg chg="del">
          <ac:chgData name="Katerine Schifino" userId="37bb67de-9fcf-4611-888c-7e5b58184a2a" providerId="ADAL" clId="{D7BBC3CB-68AE-4307-9B5F-60512B429BF0}" dt="2022-03-23T21:16:31.383" v="5082" actId="478"/>
          <ac:spMkLst>
            <pc:docMk/>
            <pc:sldMk cId="3283013631" sldId="2146846136"/>
            <ac:spMk id="55" creationId="{693BE602-C9B4-412A-8447-FDCBB931768E}"/>
          </ac:spMkLst>
        </pc:spChg>
        <pc:grpChg chg="del">
          <ac:chgData name="Katerine Schifino" userId="37bb67de-9fcf-4611-888c-7e5b58184a2a" providerId="ADAL" clId="{D7BBC3CB-68AE-4307-9B5F-60512B429BF0}" dt="2022-03-23T21:16:31.383" v="5082" actId="478"/>
          <ac:grpSpMkLst>
            <pc:docMk/>
            <pc:sldMk cId="3283013631" sldId="2146846136"/>
            <ac:grpSpMk id="6" creationId="{261DB4A7-4C07-46D7-916D-B61EDC194383}"/>
          </ac:grpSpMkLst>
        </pc:grpChg>
        <pc:grpChg chg="del">
          <ac:chgData name="Katerine Schifino" userId="37bb67de-9fcf-4611-888c-7e5b58184a2a" providerId="ADAL" clId="{D7BBC3CB-68AE-4307-9B5F-60512B429BF0}" dt="2022-03-23T21:16:31.383" v="5082" actId="478"/>
          <ac:grpSpMkLst>
            <pc:docMk/>
            <pc:sldMk cId="3283013631" sldId="2146846136"/>
            <ac:grpSpMk id="54" creationId="{C8CACEA6-0212-4EFD-B253-05AA389E4D94}"/>
          </ac:grpSpMkLst>
        </pc:grpChg>
      </pc:sldChg>
      <pc:sldChg chg="addSp delSp modSp add mod modClrScheme chgLayout">
        <pc:chgData name="Katerine Schifino" userId="37bb67de-9fcf-4611-888c-7e5b58184a2a" providerId="ADAL" clId="{D7BBC3CB-68AE-4307-9B5F-60512B429BF0}" dt="2022-03-23T23:06:43.885" v="8526" actId="20577"/>
        <pc:sldMkLst>
          <pc:docMk/>
          <pc:sldMk cId="3576568090" sldId="2146846137"/>
        </pc:sldMkLst>
        <pc:spChg chg="del">
          <ac:chgData name="Katerine Schifino" userId="37bb67de-9fcf-4611-888c-7e5b58184a2a" providerId="ADAL" clId="{D7BBC3CB-68AE-4307-9B5F-60512B429BF0}" dt="2022-03-23T21:22:22.223" v="5179" actId="478"/>
          <ac:spMkLst>
            <pc:docMk/>
            <pc:sldMk cId="3576568090" sldId="2146846137"/>
            <ac:spMk id="4" creationId="{CD3B507D-B343-498F-97D5-78CBF4589AAB}"/>
          </ac:spMkLst>
        </pc:spChg>
        <pc:spChg chg="add mod">
          <ac:chgData name="Katerine Schifino" userId="37bb67de-9fcf-4611-888c-7e5b58184a2a" providerId="ADAL" clId="{D7BBC3CB-68AE-4307-9B5F-60512B429BF0}" dt="2022-03-23T21:29:04.791" v="5516" actId="20577"/>
          <ac:spMkLst>
            <pc:docMk/>
            <pc:sldMk cId="3576568090" sldId="2146846137"/>
            <ac:spMk id="6" creationId="{C3E24BFF-A0DB-4ECE-96D3-5EAB937B7323}"/>
          </ac:spMkLst>
        </pc:spChg>
        <pc:spChg chg="add mod">
          <ac:chgData name="Katerine Schifino" userId="37bb67de-9fcf-4611-888c-7e5b58184a2a" providerId="ADAL" clId="{D7BBC3CB-68AE-4307-9B5F-60512B429BF0}" dt="2022-03-23T21:29:44.871" v="5601" actId="1036"/>
          <ac:spMkLst>
            <pc:docMk/>
            <pc:sldMk cId="3576568090" sldId="2146846137"/>
            <ac:spMk id="7" creationId="{9B3DE356-A217-4930-B091-FDA68F880392}"/>
          </ac:spMkLst>
        </pc:spChg>
        <pc:spChg chg="add mod">
          <ac:chgData name="Katerine Schifino" userId="37bb67de-9fcf-4611-888c-7e5b58184a2a" providerId="ADAL" clId="{D7BBC3CB-68AE-4307-9B5F-60512B429BF0}" dt="2022-03-23T23:06:43.885" v="8526" actId="20577"/>
          <ac:spMkLst>
            <pc:docMk/>
            <pc:sldMk cId="3576568090" sldId="2146846137"/>
            <ac:spMk id="8" creationId="{F3692B0D-82AC-41A6-A5BD-1A4B9AC9B985}"/>
          </ac:spMkLst>
        </pc:spChg>
        <pc:picChg chg="del">
          <ac:chgData name="Katerine Schifino" userId="37bb67de-9fcf-4611-888c-7e5b58184a2a" providerId="ADAL" clId="{D7BBC3CB-68AE-4307-9B5F-60512B429BF0}" dt="2022-03-23T21:19:53.511" v="5144" actId="21"/>
          <ac:picMkLst>
            <pc:docMk/>
            <pc:sldMk cId="3576568090" sldId="2146846137"/>
            <ac:picMk id="4098" creationId="{2878EE32-FA46-4168-9266-2B4C62DFC071}"/>
          </ac:picMkLst>
        </pc:picChg>
        <pc:picChg chg="add del mod">
          <ac:chgData name="Katerine Schifino" userId="37bb67de-9fcf-4611-888c-7e5b58184a2a" providerId="ADAL" clId="{D7BBC3CB-68AE-4307-9B5F-60512B429BF0}" dt="2022-03-23T21:19:53.511" v="5144" actId="21"/>
          <ac:picMkLst>
            <pc:docMk/>
            <pc:sldMk cId="3576568090" sldId="2146846137"/>
            <ac:picMk id="5122" creationId="{606D00E9-699B-42D2-90C2-1A3B9FC5B116}"/>
          </ac:picMkLst>
        </pc:picChg>
        <pc:picChg chg="add del mod">
          <ac:chgData name="Katerine Schifino" userId="37bb67de-9fcf-4611-888c-7e5b58184a2a" providerId="ADAL" clId="{D7BBC3CB-68AE-4307-9B5F-60512B429BF0}" dt="2022-03-23T21:19:53.511" v="5144" actId="21"/>
          <ac:picMkLst>
            <pc:docMk/>
            <pc:sldMk cId="3576568090" sldId="2146846137"/>
            <ac:picMk id="5124" creationId="{01B7AB5B-29EE-4822-B37F-65D55BF07668}"/>
          </ac:picMkLst>
        </pc:picChg>
        <pc:picChg chg="add mod">
          <ac:chgData name="Katerine Schifino" userId="37bb67de-9fcf-4611-888c-7e5b58184a2a" providerId="ADAL" clId="{D7BBC3CB-68AE-4307-9B5F-60512B429BF0}" dt="2022-03-23T21:29:44.871" v="5601" actId="1036"/>
          <ac:picMkLst>
            <pc:docMk/>
            <pc:sldMk cId="3576568090" sldId="2146846137"/>
            <ac:picMk id="5126" creationId="{895C0EEB-02B6-450D-A21B-41CA55BD36FB}"/>
          </ac:picMkLst>
        </pc:picChg>
      </pc:sldChg>
      <pc:sldChg chg="add del">
        <pc:chgData name="Katerine Schifino" userId="37bb67de-9fcf-4611-888c-7e5b58184a2a" providerId="ADAL" clId="{D7BBC3CB-68AE-4307-9B5F-60512B429BF0}" dt="2022-03-23T21:47:31.399" v="5617" actId="47"/>
        <pc:sldMkLst>
          <pc:docMk/>
          <pc:sldMk cId="303325371" sldId="2146846138"/>
        </pc:sldMkLst>
      </pc:sldChg>
      <pc:sldChg chg="addSp delSp modSp add mod">
        <pc:chgData name="Katerine Schifino" userId="37bb67de-9fcf-4611-888c-7e5b58184a2a" providerId="ADAL" clId="{D7BBC3CB-68AE-4307-9B5F-60512B429BF0}" dt="2022-03-24T19:07:46.450" v="9649" actId="20577"/>
        <pc:sldMkLst>
          <pc:docMk/>
          <pc:sldMk cId="1726142947" sldId="2146846138"/>
        </pc:sldMkLst>
        <pc:spChg chg="mod">
          <ac:chgData name="Katerine Schifino" userId="37bb67de-9fcf-4611-888c-7e5b58184a2a" providerId="ADAL" clId="{D7BBC3CB-68AE-4307-9B5F-60512B429BF0}" dt="2022-03-24T19:07:42.279" v="9647" actId="20577"/>
          <ac:spMkLst>
            <pc:docMk/>
            <pc:sldMk cId="1726142947" sldId="2146846138"/>
            <ac:spMk id="99" creationId="{AFB16858-CE5E-47D7-9439-8DC471FD0DEF}"/>
          </ac:spMkLst>
        </pc:spChg>
        <pc:spChg chg="mod">
          <ac:chgData name="Katerine Schifino" userId="37bb67de-9fcf-4611-888c-7e5b58184a2a" providerId="ADAL" clId="{D7BBC3CB-68AE-4307-9B5F-60512B429BF0}" dt="2022-03-24T19:07:46.450" v="9649" actId="20577"/>
          <ac:spMkLst>
            <pc:docMk/>
            <pc:sldMk cId="1726142947" sldId="2146846138"/>
            <ac:spMk id="106" creationId="{C87E10BD-FF0A-48F4-A249-9FB8E0525706}"/>
          </ac:spMkLst>
        </pc:spChg>
        <pc:grpChg chg="del">
          <ac:chgData name="Katerine Schifino" userId="37bb67de-9fcf-4611-888c-7e5b58184a2a" providerId="ADAL" clId="{D7BBC3CB-68AE-4307-9B5F-60512B429BF0}" dt="2022-03-23T23:08:08.150" v="8530" actId="478"/>
          <ac:grpSpMkLst>
            <pc:docMk/>
            <pc:sldMk cId="1726142947" sldId="2146846138"/>
            <ac:grpSpMk id="108" creationId="{950F7CE4-4B8F-43C4-BFCC-46975D30A2E8}"/>
          </ac:grpSpMkLst>
        </pc:grpChg>
        <pc:picChg chg="add mod modCrop">
          <ac:chgData name="Katerine Schifino" userId="37bb67de-9fcf-4611-888c-7e5b58184a2a" providerId="ADAL" clId="{D7BBC3CB-68AE-4307-9B5F-60512B429BF0}" dt="2022-03-23T23:19:44.202" v="8543" actId="18131"/>
          <ac:picMkLst>
            <pc:docMk/>
            <pc:sldMk cId="1726142947" sldId="2146846138"/>
            <ac:picMk id="3" creationId="{98CC4ED0-9F6E-4782-AA94-5F30B7D7E30D}"/>
          </ac:picMkLst>
        </pc:picChg>
        <pc:picChg chg="del">
          <ac:chgData name="Katerine Schifino" userId="37bb67de-9fcf-4611-888c-7e5b58184a2a" providerId="ADAL" clId="{D7BBC3CB-68AE-4307-9B5F-60512B429BF0}" dt="2022-03-23T23:08:08.150" v="8530" actId="478"/>
          <ac:picMkLst>
            <pc:docMk/>
            <pc:sldMk cId="1726142947" sldId="2146846138"/>
            <ac:picMk id="110" creationId="{A8365DF3-B895-42F5-ABBC-7B7F12533A3D}"/>
          </ac:picMkLst>
        </pc:picChg>
      </pc:sldChg>
      <pc:sldChg chg="modSp add mod">
        <pc:chgData name="Katerine Schifino" userId="37bb67de-9fcf-4611-888c-7e5b58184a2a" providerId="ADAL" clId="{D7BBC3CB-68AE-4307-9B5F-60512B429BF0}" dt="2022-03-24T14:25:14.354" v="9625" actId="572"/>
        <pc:sldMkLst>
          <pc:docMk/>
          <pc:sldMk cId="829897845" sldId="2146846139"/>
        </pc:sldMkLst>
        <pc:graphicFrameChg chg="mod modGraphic">
          <ac:chgData name="Katerine Schifino" userId="37bb67de-9fcf-4611-888c-7e5b58184a2a" providerId="ADAL" clId="{D7BBC3CB-68AE-4307-9B5F-60512B429BF0}" dt="2022-03-24T14:25:14.354" v="9625" actId="572"/>
          <ac:graphicFrameMkLst>
            <pc:docMk/>
            <pc:sldMk cId="829897845" sldId="2146846139"/>
            <ac:graphicFrameMk id="2" creationId="{DABEA71B-03AC-48AD-8E3A-F5B4F36922D0}"/>
          </ac:graphicFrameMkLst>
        </pc:graphicFrameChg>
      </pc:sldChg>
      <pc:sldChg chg="add del">
        <pc:chgData name="Katerine Schifino" userId="37bb67de-9fcf-4611-888c-7e5b58184a2a" providerId="ADAL" clId="{D7BBC3CB-68AE-4307-9B5F-60512B429BF0}" dt="2022-03-23T23:25:11.130" v="8552" actId="2890"/>
        <pc:sldMkLst>
          <pc:docMk/>
          <pc:sldMk cId="2316621948" sldId="2146846139"/>
        </pc:sldMkLst>
      </pc:sldChg>
      <pc:sldChg chg="modSp add mod">
        <pc:chgData name="Katerine Schifino" userId="37bb67de-9fcf-4611-888c-7e5b58184a2a" providerId="ADAL" clId="{D7BBC3CB-68AE-4307-9B5F-60512B429BF0}" dt="2022-03-24T14:25:50.331" v="9631"/>
        <pc:sldMkLst>
          <pc:docMk/>
          <pc:sldMk cId="3798208685" sldId="2146846140"/>
        </pc:sldMkLst>
        <pc:graphicFrameChg chg="mod modGraphic">
          <ac:chgData name="Katerine Schifino" userId="37bb67de-9fcf-4611-888c-7e5b58184a2a" providerId="ADAL" clId="{D7BBC3CB-68AE-4307-9B5F-60512B429BF0}" dt="2022-03-24T14:25:50.331" v="9631"/>
          <ac:graphicFrameMkLst>
            <pc:docMk/>
            <pc:sldMk cId="3798208685" sldId="2146846140"/>
            <ac:graphicFrameMk id="2" creationId="{DABEA71B-03AC-48AD-8E3A-F5B4F36922D0}"/>
          </ac:graphicFrameMkLst>
        </pc:graphicFrameChg>
      </pc:sldChg>
      <pc:sldChg chg="modSp add mod">
        <pc:chgData name="Katerine Schifino" userId="37bb67de-9fcf-4611-888c-7e5b58184a2a" providerId="ADAL" clId="{D7BBC3CB-68AE-4307-9B5F-60512B429BF0}" dt="2022-03-24T14:26:16.235" v="9636"/>
        <pc:sldMkLst>
          <pc:docMk/>
          <pc:sldMk cId="1563887758" sldId="2146846141"/>
        </pc:sldMkLst>
        <pc:graphicFrameChg chg="mod modGraphic">
          <ac:chgData name="Katerine Schifino" userId="37bb67de-9fcf-4611-888c-7e5b58184a2a" providerId="ADAL" clId="{D7BBC3CB-68AE-4307-9B5F-60512B429BF0}" dt="2022-03-24T14:26:16.235" v="9636"/>
          <ac:graphicFrameMkLst>
            <pc:docMk/>
            <pc:sldMk cId="1563887758" sldId="2146846141"/>
            <ac:graphicFrameMk id="2" creationId="{DABEA71B-03AC-48AD-8E3A-F5B4F36922D0}"/>
          </ac:graphicFrameMkLst>
        </pc:graphicFrameChg>
      </pc:sldChg>
      <pc:sldChg chg="modSp add mod">
        <pc:chgData name="Katerine Schifino" userId="37bb67de-9fcf-4611-888c-7e5b58184a2a" providerId="ADAL" clId="{D7BBC3CB-68AE-4307-9B5F-60512B429BF0}" dt="2022-03-24T14:26:43.286" v="9641" actId="207"/>
        <pc:sldMkLst>
          <pc:docMk/>
          <pc:sldMk cId="2686842604" sldId="2146846142"/>
        </pc:sldMkLst>
        <pc:graphicFrameChg chg="mod modGraphic">
          <ac:chgData name="Katerine Schifino" userId="37bb67de-9fcf-4611-888c-7e5b58184a2a" providerId="ADAL" clId="{D7BBC3CB-68AE-4307-9B5F-60512B429BF0}" dt="2022-03-24T14:26:43.286" v="9641" actId="207"/>
          <ac:graphicFrameMkLst>
            <pc:docMk/>
            <pc:sldMk cId="2686842604" sldId="2146846142"/>
            <ac:graphicFrameMk id="2" creationId="{DABEA71B-03AC-48AD-8E3A-F5B4F36922D0}"/>
          </ac:graphicFrameMkLst>
        </pc:graphicFrameChg>
      </pc:sldChg>
      <pc:sldMasterChg chg="modSldLayout">
        <pc:chgData name="Katerine Schifino" userId="37bb67de-9fcf-4611-888c-7e5b58184a2a" providerId="ADAL" clId="{D7BBC3CB-68AE-4307-9B5F-60512B429BF0}" dt="2022-03-23T21:26:10.491" v="5456"/>
        <pc:sldMasterMkLst>
          <pc:docMk/>
          <pc:sldMasterMk cId="2023246918" sldId="2147483660"/>
        </pc:sldMasterMkLst>
        <pc:sldLayoutChg chg="addSp delSp modSp">
          <pc:chgData name="Katerine Schifino" userId="37bb67de-9fcf-4611-888c-7e5b58184a2a" providerId="ADAL" clId="{D7BBC3CB-68AE-4307-9B5F-60512B429BF0}" dt="2022-03-23T18:59:14.731" v="2605" actId="478"/>
          <pc:sldLayoutMkLst>
            <pc:docMk/>
            <pc:sldMasterMk cId="2023246918" sldId="2147483660"/>
            <pc:sldLayoutMk cId="2759410488" sldId="2147483987"/>
          </pc:sldLayoutMkLst>
          <pc:picChg chg="add del mod">
            <ac:chgData name="Katerine Schifino" userId="37bb67de-9fcf-4611-888c-7e5b58184a2a" providerId="ADAL" clId="{D7BBC3CB-68AE-4307-9B5F-60512B429BF0}" dt="2022-03-23T18:59:14.731" v="2605" actId="478"/>
            <ac:picMkLst>
              <pc:docMk/>
              <pc:sldMasterMk cId="2023246918" sldId="2147483660"/>
              <pc:sldLayoutMk cId="2759410488" sldId="2147483987"/>
              <ac:picMk id="3" creationId="{A65D2D27-6251-427D-8CD6-3877A0D07EAB}"/>
            </ac:picMkLst>
          </pc:picChg>
        </pc:sldLayoutChg>
        <pc:sldLayoutChg chg="addSp delSp modSp">
          <pc:chgData name="Katerine Schifino" userId="37bb67de-9fcf-4611-888c-7e5b58184a2a" providerId="ADAL" clId="{D7BBC3CB-68AE-4307-9B5F-60512B429BF0}" dt="2022-03-23T21:20:04.055" v="5146" actId="478"/>
          <pc:sldLayoutMkLst>
            <pc:docMk/>
            <pc:sldMasterMk cId="2023246918" sldId="2147483660"/>
            <pc:sldLayoutMk cId="3617988650" sldId="2147484018"/>
          </pc:sldLayoutMkLst>
          <pc:picChg chg="add del mod">
            <ac:chgData name="Katerine Schifino" userId="37bb67de-9fcf-4611-888c-7e5b58184a2a" providerId="ADAL" clId="{D7BBC3CB-68AE-4307-9B5F-60512B429BF0}" dt="2022-03-23T21:20:04.055" v="5146" actId="478"/>
            <ac:picMkLst>
              <pc:docMk/>
              <pc:sldMasterMk cId="2023246918" sldId="2147483660"/>
              <pc:sldLayoutMk cId="3617988650" sldId="2147484018"/>
              <ac:picMk id="6" creationId="{7F5FEE10-7D97-41B1-84E9-CC828617C8A1}"/>
            </ac:picMkLst>
          </pc:picChg>
          <pc:picChg chg="add del mod">
            <ac:chgData name="Katerine Schifino" userId="37bb67de-9fcf-4611-888c-7e5b58184a2a" providerId="ADAL" clId="{D7BBC3CB-68AE-4307-9B5F-60512B429BF0}" dt="2022-03-23T21:20:04.055" v="5146" actId="478"/>
            <ac:picMkLst>
              <pc:docMk/>
              <pc:sldMasterMk cId="2023246918" sldId="2147483660"/>
              <pc:sldLayoutMk cId="3617988650" sldId="2147484018"/>
              <ac:picMk id="7" creationId="{607E63D6-0095-4DA0-926C-58C8D23B5CDF}"/>
            </ac:picMkLst>
          </pc:picChg>
          <pc:picChg chg="add del mod">
            <ac:chgData name="Katerine Schifino" userId="37bb67de-9fcf-4611-888c-7e5b58184a2a" providerId="ADAL" clId="{D7BBC3CB-68AE-4307-9B5F-60512B429BF0}" dt="2022-03-23T21:20:04.055" v="5146" actId="478"/>
            <ac:picMkLst>
              <pc:docMk/>
              <pc:sldMasterMk cId="2023246918" sldId="2147483660"/>
              <pc:sldLayoutMk cId="3617988650" sldId="2147484018"/>
              <ac:picMk id="8" creationId="{B4EA689D-80F7-4CD1-B2F1-CAEA0F17213D}"/>
            </ac:picMkLst>
          </pc:picChg>
        </pc:sldLayoutChg>
        <pc:sldLayoutChg chg="addSp modSp">
          <pc:chgData name="Katerine Schifino" userId="37bb67de-9fcf-4611-888c-7e5b58184a2a" providerId="ADAL" clId="{D7BBC3CB-68AE-4307-9B5F-60512B429BF0}" dt="2022-03-23T19:02:11.023" v="2645"/>
          <pc:sldLayoutMkLst>
            <pc:docMk/>
            <pc:sldMasterMk cId="2023246918" sldId="2147483660"/>
            <pc:sldLayoutMk cId="2957670480" sldId="2147484020"/>
          </pc:sldLayoutMkLst>
          <pc:grpChg chg="add mod">
            <ac:chgData name="Katerine Schifino" userId="37bb67de-9fcf-4611-888c-7e5b58184a2a" providerId="ADAL" clId="{D7BBC3CB-68AE-4307-9B5F-60512B429BF0}" dt="2022-03-23T19:01:42.582" v="2640"/>
            <ac:grpSpMkLst>
              <pc:docMk/>
              <pc:sldMasterMk cId="2023246918" sldId="2147483660"/>
              <pc:sldLayoutMk cId="2957670480" sldId="2147484020"/>
              <ac:grpSpMk id="2" creationId="{164DBBD2-31FA-49D4-A73C-F5618417CD78}"/>
            </ac:grpSpMkLst>
          </pc:grpChg>
          <pc:picChg chg="mod">
            <ac:chgData name="Katerine Schifino" userId="37bb67de-9fcf-4611-888c-7e5b58184a2a" providerId="ADAL" clId="{D7BBC3CB-68AE-4307-9B5F-60512B429BF0}" dt="2022-03-23T19:02:04.802" v="2642"/>
            <ac:picMkLst>
              <pc:docMk/>
              <pc:sldMasterMk cId="2023246918" sldId="2147483660"/>
              <pc:sldLayoutMk cId="2957670480" sldId="2147484020"/>
              <ac:picMk id="3" creationId="{A65D2D27-6251-427D-8CD6-3877A0D07EAB}"/>
            </ac:picMkLst>
          </pc:picChg>
          <pc:picChg chg="add mod">
            <ac:chgData name="Katerine Schifino" userId="37bb67de-9fcf-4611-888c-7e5b58184a2a" providerId="ADAL" clId="{D7BBC3CB-68AE-4307-9B5F-60512B429BF0}" dt="2022-03-23T19:02:02.099" v="2641"/>
            <ac:picMkLst>
              <pc:docMk/>
              <pc:sldMasterMk cId="2023246918" sldId="2147483660"/>
              <pc:sldLayoutMk cId="2957670480" sldId="2147484020"/>
              <ac:picMk id="5" creationId="{2A3BC59E-D672-4A55-BAD3-02C118600F0E}"/>
            </ac:picMkLst>
          </pc:picChg>
          <pc:picChg chg="add mod">
            <ac:chgData name="Katerine Schifino" userId="37bb67de-9fcf-4611-888c-7e5b58184a2a" providerId="ADAL" clId="{D7BBC3CB-68AE-4307-9B5F-60512B429BF0}" dt="2022-03-23T19:02:07.238" v="2643"/>
            <ac:picMkLst>
              <pc:docMk/>
              <pc:sldMasterMk cId="2023246918" sldId="2147483660"/>
              <pc:sldLayoutMk cId="2957670480" sldId="2147484020"/>
              <ac:picMk id="6" creationId="{7A298334-0A8D-4F7D-BB05-50FDF31C692B}"/>
            </ac:picMkLst>
          </pc:picChg>
          <pc:picChg chg="add mod">
            <ac:chgData name="Katerine Schifino" userId="37bb67de-9fcf-4611-888c-7e5b58184a2a" providerId="ADAL" clId="{D7BBC3CB-68AE-4307-9B5F-60512B429BF0}" dt="2022-03-23T19:02:11.023" v="2645"/>
            <ac:picMkLst>
              <pc:docMk/>
              <pc:sldMasterMk cId="2023246918" sldId="2147483660"/>
              <pc:sldLayoutMk cId="2957670480" sldId="2147484020"/>
              <ac:picMk id="7" creationId="{1C22F954-1D87-436F-A5A9-D0541938DB3A}"/>
            </ac:picMkLst>
          </pc:picChg>
          <pc:picChg chg="add mod">
            <ac:chgData name="Katerine Schifino" userId="37bb67de-9fcf-4611-888c-7e5b58184a2a" providerId="ADAL" clId="{D7BBC3CB-68AE-4307-9B5F-60512B429BF0}" dt="2022-03-23T19:02:09.051" v="2644"/>
            <ac:picMkLst>
              <pc:docMk/>
              <pc:sldMasterMk cId="2023246918" sldId="2147483660"/>
              <pc:sldLayoutMk cId="2957670480" sldId="2147484020"/>
              <ac:picMk id="8" creationId="{BF425A56-2CCE-4909-8AB3-844871F624B9}"/>
            </ac:picMkLst>
          </pc:picChg>
        </pc:sldLayoutChg>
        <pc:sldLayoutChg chg="addSp delSp modSp mod">
          <pc:chgData name="Katerine Schifino" userId="37bb67de-9fcf-4611-888c-7e5b58184a2a" providerId="ADAL" clId="{D7BBC3CB-68AE-4307-9B5F-60512B429BF0}" dt="2022-03-23T21:26:10.491" v="5456"/>
          <pc:sldLayoutMkLst>
            <pc:docMk/>
            <pc:sldMasterMk cId="2023246918" sldId="2147483660"/>
            <pc:sldLayoutMk cId="3601398483" sldId="2147484021"/>
          </pc:sldLayoutMkLst>
          <pc:picChg chg="del mod">
            <ac:chgData name="Katerine Schifino" userId="37bb67de-9fcf-4611-888c-7e5b58184a2a" providerId="ADAL" clId="{D7BBC3CB-68AE-4307-9B5F-60512B429BF0}" dt="2022-03-23T21:20:27.271" v="5150" actId="478"/>
            <ac:picMkLst>
              <pc:docMk/>
              <pc:sldMasterMk cId="2023246918" sldId="2147483660"/>
              <pc:sldLayoutMk cId="3601398483" sldId="2147484021"/>
              <ac:picMk id="6" creationId="{7F5FEE10-7D97-41B1-84E9-CC828617C8A1}"/>
            </ac:picMkLst>
          </pc:picChg>
          <pc:picChg chg="del mod">
            <ac:chgData name="Katerine Schifino" userId="37bb67de-9fcf-4611-888c-7e5b58184a2a" providerId="ADAL" clId="{D7BBC3CB-68AE-4307-9B5F-60512B429BF0}" dt="2022-03-23T21:20:36.510" v="5153" actId="478"/>
            <ac:picMkLst>
              <pc:docMk/>
              <pc:sldMasterMk cId="2023246918" sldId="2147483660"/>
              <pc:sldLayoutMk cId="3601398483" sldId="2147484021"/>
              <ac:picMk id="7" creationId="{607E63D6-0095-4DA0-926C-58C8D23B5CDF}"/>
            </ac:picMkLst>
          </pc:picChg>
          <pc:picChg chg="mod">
            <ac:chgData name="Katerine Schifino" userId="37bb67de-9fcf-4611-888c-7e5b58184a2a" providerId="ADAL" clId="{D7BBC3CB-68AE-4307-9B5F-60512B429BF0}" dt="2022-03-23T21:26:04.637" v="5452"/>
            <ac:picMkLst>
              <pc:docMk/>
              <pc:sldMasterMk cId="2023246918" sldId="2147483660"/>
              <pc:sldLayoutMk cId="3601398483" sldId="2147484021"/>
              <ac:picMk id="8" creationId="{B4EA689D-80F7-4CD1-B2F1-CAEA0F17213D}"/>
            </ac:picMkLst>
          </pc:picChg>
          <pc:picChg chg="add mod">
            <ac:chgData name="Katerine Schifino" userId="37bb67de-9fcf-4611-888c-7e5b58184a2a" providerId="ADAL" clId="{D7BBC3CB-68AE-4307-9B5F-60512B429BF0}" dt="2022-03-23T21:26:01.998" v="5451"/>
            <ac:picMkLst>
              <pc:docMk/>
              <pc:sldMasterMk cId="2023246918" sldId="2147483660"/>
              <pc:sldLayoutMk cId="3601398483" sldId="2147484021"/>
              <ac:picMk id="9" creationId="{C76B4DBF-9FB2-49CD-9916-3E041CA5728D}"/>
            </ac:picMkLst>
          </pc:picChg>
          <pc:picChg chg="add mod">
            <ac:chgData name="Katerine Schifino" userId="37bb67de-9fcf-4611-888c-7e5b58184a2a" providerId="ADAL" clId="{D7BBC3CB-68AE-4307-9B5F-60512B429BF0}" dt="2022-03-23T21:26:05.951" v="5453"/>
            <ac:picMkLst>
              <pc:docMk/>
              <pc:sldMasterMk cId="2023246918" sldId="2147483660"/>
              <pc:sldLayoutMk cId="3601398483" sldId="2147484021"/>
              <ac:picMk id="10" creationId="{8373B186-8D07-4B83-86BE-C88123E30371}"/>
            </ac:picMkLst>
          </pc:picChg>
          <pc:picChg chg="add mod">
            <ac:chgData name="Katerine Schifino" userId="37bb67de-9fcf-4611-888c-7e5b58184a2a" providerId="ADAL" clId="{D7BBC3CB-68AE-4307-9B5F-60512B429BF0}" dt="2022-03-23T21:26:10.491" v="5456"/>
            <ac:picMkLst>
              <pc:docMk/>
              <pc:sldMasterMk cId="2023246918" sldId="2147483660"/>
              <pc:sldLayoutMk cId="3601398483" sldId="2147484021"/>
              <ac:picMk id="11" creationId="{8D6260DF-65BA-4B8E-93B3-CC06118EA2D9}"/>
            </ac:picMkLst>
          </pc:picChg>
          <pc:picChg chg="add mod">
            <ac:chgData name="Katerine Schifino" userId="37bb67de-9fcf-4611-888c-7e5b58184a2a" providerId="ADAL" clId="{D7BBC3CB-68AE-4307-9B5F-60512B429BF0}" dt="2022-03-23T21:26:07.725" v="5454"/>
            <ac:picMkLst>
              <pc:docMk/>
              <pc:sldMasterMk cId="2023246918" sldId="2147483660"/>
              <pc:sldLayoutMk cId="3601398483" sldId="2147484021"/>
              <ac:picMk id="12" creationId="{5B9A083B-30D6-405F-8D76-C6762C4D1BDA}"/>
            </ac:picMkLst>
          </pc:picChg>
          <pc:picChg chg="add mod">
            <ac:chgData name="Katerine Schifino" userId="37bb67de-9fcf-4611-888c-7e5b58184a2a" providerId="ADAL" clId="{D7BBC3CB-68AE-4307-9B5F-60512B429BF0}" dt="2022-03-23T21:26:09.160" v="5455"/>
            <ac:picMkLst>
              <pc:docMk/>
              <pc:sldMasterMk cId="2023246918" sldId="2147483660"/>
              <pc:sldLayoutMk cId="3601398483" sldId="2147484021"/>
              <ac:picMk id="13" creationId="{0D8FEBFE-B555-4112-981D-BB471C6AA659}"/>
            </ac:picMkLst>
          </pc:picChg>
          <pc:cxnChg chg="del">
            <ac:chgData name="Katerine Schifino" userId="37bb67de-9fcf-4611-888c-7e5b58184a2a" providerId="ADAL" clId="{D7BBC3CB-68AE-4307-9B5F-60512B429BF0}" dt="2022-03-23T21:20:07.501" v="5147" actId="478"/>
            <ac:cxnSpMkLst>
              <pc:docMk/>
              <pc:sldMasterMk cId="2023246918" sldId="2147483660"/>
              <pc:sldLayoutMk cId="3601398483" sldId="2147484021"/>
              <ac:cxnSpMk id="5" creationId="{15BEB3CA-A99B-403C-973D-1EB6212FAA56}"/>
            </ac:cxnSpMkLst>
          </pc:cxnChg>
        </pc:sldLayoutChg>
      </pc:sldMasterChg>
    </pc:docChg>
  </pc:docChgLst>
  <pc:docChgLst>
    <pc:chgData name="Bianca Naomy" userId="abf68bbe-83b2-4c0b-9325-ce8a54e5fdae" providerId="ADAL" clId="{3D0EF68F-496D-4DB5-988A-94E78AF2E23A}"/>
    <pc:docChg chg="undo custSel addSld delSld modSld">
      <pc:chgData name="Bianca Naomy" userId="abf68bbe-83b2-4c0b-9325-ce8a54e5fdae" providerId="ADAL" clId="{3D0EF68F-496D-4DB5-988A-94E78AF2E23A}" dt="2022-03-14T14:28:16.897" v="31"/>
      <pc:docMkLst>
        <pc:docMk/>
      </pc:docMkLst>
      <pc:sldChg chg="add del">
        <pc:chgData name="Bianca Naomy" userId="abf68bbe-83b2-4c0b-9325-ce8a54e5fdae" providerId="ADAL" clId="{3D0EF68F-496D-4DB5-988A-94E78AF2E23A}" dt="2022-03-14T13:46:15.332" v="4" actId="47"/>
        <pc:sldMkLst>
          <pc:docMk/>
          <pc:sldMk cId="1230900351" sldId="2146846085"/>
        </pc:sldMkLst>
      </pc:sldChg>
      <pc:sldChg chg="modSp mod">
        <pc:chgData name="Bianca Naomy" userId="abf68bbe-83b2-4c0b-9325-ce8a54e5fdae" providerId="ADAL" clId="{3D0EF68F-496D-4DB5-988A-94E78AF2E23A}" dt="2022-03-14T13:47:13.418" v="26" actId="14100"/>
        <pc:sldMkLst>
          <pc:docMk/>
          <pc:sldMk cId="2851014050" sldId="2146846086"/>
        </pc:sldMkLst>
        <pc:spChg chg="mod">
          <ac:chgData name="Bianca Naomy" userId="abf68bbe-83b2-4c0b-9325-ce8a54e5fdae" providerId="ADAL" clId="{3D0EF68F-496D-4DB5-988A-94E78AF2E23A}" dt="2022-03-14T13:47:13.418" v="26" actId="14100"/>
          <ac:spMkLst>
            <pc:docMk/>
            <pc:sldMk cId="2851014050" sldId="2146846086"/>
            <ac:spMk id="5" creationId="{CE0A2097-C16B-40B9-998B-BADE8D8FD360}"/>
          </ac:spMkLst>
        </pc:spChg>
      </pc:sldChg>
      <pc:sldChg chg="modSp mod">
        <pc:chgData name="Bianca Naomy" userId="abf68bbe-83b2-4c0b-9325-ce8a54e5fdae" providerId="ADAL" clId="{3D0EF68F-496D-4DB5-988A-94E78AF2E23A}" dt="2022-03-14T13:44:27.383" v="1" actId="108"/>
        <pc:sldMkLst>
          <pc:docMk/>
          <pc:sldMk cId="383325140" sldId="2146846088"/>
        </pc:sldMkLst>
        <pc:spChg chg="mod">
          <ac:chgData name="Bianca Naomy" userId="abf68bbe-83b2-4c0b-9325-ce8a54e5fdae" providerId="ADAL" clId="{3D0EF68F-496D-4DB5-988A-94E78AF2E23A}" dt="2022-03-14T13:44:27.383" v="1" actId="108"/>
          <ac:spMkLst>
            <pc:docMk/>
            <pc:sldMk cId="383325140" sldId="2146846088"/>
            <ac:spMk id="7" creationId="{9D971B76-39BB-4F59-925B-D4649E5075A1}"/>
          </ac:spMkLst>
        </pc:spChg>
      </pc:sldChg>
      <pc:sldChg chg="add del">
        <pc:chgData name="Bianca Naomy" userId="abf68bbe-83b2-4c0b-9325-ce8a54e5fdae" providerId="ADAL" clId="{3D0EF68F-496D-4DB5-988A-94E78AF2E23A}" dt="2022-03-14T13:46:16.645" v="5"/>
        <pc:sldMkLst>
          <pc:docMk/>
          <pc:sldMk cId="1462831530" sldId="2146846094"/>
        </pc:sldMkLst>
      </pc:sldChg>
      <pc:sldChg chg="modSp mod">
        <pc:chgData name="Bianca Naomy" userId="abf68bbe-83b2-4c0b-9325-ce8a54e5fdae" providerId="ADAL" clId="{3D0EF68F-496D-4DB5-988A-94E78AF2E23A}" dt="2022-03-14T14:28:16.897" v="31"/>
        <pc:sldMkLst>
          <pc:docMk/>
          <pc:sldMk cId="2732974769" sldId="2146846094"/>
        </pc:sldMkLst>
        <pc:spChg chg="mod">
          <ac:chgData name="Bianca Naomy" userId="abf68bbe-83b2-4c0b-9325-ce8a54e5fdae" providerId="ADAL" clId="{3D0EF68F-496D-4DB5-988A-94E78AF2E23A}" dt="2022-03-14T14:28:16.897" v="31"/>
          <ac:spMkLst>
            <pc:docMk/>
            <pc:sldMk cId="2732974769" sldId="2146846094"/>
            <ac:spMk id="5" creationId="{627EBBDC-F27E-4C02-853D-FC28E86BB1E0}"/>
          </ac:spMkLst>
        </pc:spChg>
      </pc:sldChg>
    </pc:docChg>
  </pc:docChgLst>
  <pc:docChgLst>
    <pc:chgData name="Katerine Schifino" userId="37bb67de-9fcf-4611-888c-7e5b58184a2a" providerId="ADAL" clId="{492CA766-37C7-49E7-917E-99FEE8BB3045}"/>
    <pc:docChg chg="undo redo custSel addSld delSld modSld sldOrd">
      <pc:chgData name="Katerine Schifino" userId="37bb67de-9fcf-4611-888c-7e5b58184a2a" providerId="ADAL" clId="{492CA766-37C7-49E7-917E-99FEE8BB3045}" dt="2022-03-14T14:10:41.054" v="3958" actId="47"/>
      <pc:docMkLst>
        <pc:docMk/>
      </pc:docMkLst>
      <pc:sldChg chg="addSp delSp modSp mod">
        <pc:chgData name="Katerine Schifino" userId="37bb67de-9fcf-4611-888c-7e5b58184a2a" providerId="ADAL" clId="{492CA766-37C7-49E7-917E-99FEE8BB3045}" dt="2022-03-09T14:39:33.142" v="930" actId="1076"/>
        <pc:sldMkLst>
          <pc:docMk/>
          <pc:sldMk cId="4072131230" sldId="2080108012"/>
        </pc:sldMkLst>
        <pc:spChg chg="mod">
          <ac:chgData name="Katerine Schifino" userId="37bb67de-9fcf-4611-888c-7e5b58184a2a" providerId="ADAL" clId="{492CA766-37C7-49E7-917E-99FEE8BB3045}" dt="2022-03-09T14:39:16.247" v="926" actId="20577"/>
          <ac:spMkLst>
            <pc:docMk/>
            <pc:sldMk cId="4072131230" sldId="2080108012"/>
            <ac:spMk id="3" creationId="{FEA9F600-57E1-444E-9B65-D38B4F85ADE7}"/>
          </ac:spMkLst>
        </pc:spChg>
        <pc:picChg chg="del">
          <ac:chgData name="Katerine Schifino" userId="37bb67de-9fcf-4611-888c-7e5b58184a2a" providerId="ADAL" clId="{492CA766-37C7-49E7-917E-99FEE8BB3045}" dt="2022-03-09T14:39:18.037" v="927" actId="478"/>
          <ac:picMkLst>
            <pc:docMk/>
            <pc:sldMk cId="4072131230" sldId="2080108012"/>
            <ac:picMk id="5" creationId="{4207BB6C-B387-4E79-8701-B225D92A4006}"/>
          </ac:picMkLst>
        </pc:picChg>
        <pc:picChg chg="add mod">
          <ac:chgData name="Katerine Schifino" userId="37bb67de-9fcf-4611-888c-7e5b58184a2a" providerId="ADAL" clId="{492CA766-37C7-49E7-917E-99FEE8BB3045}" dt="2022-03-09T14:39:33.142" v="930" actId="1076"/>
          <ac:picMkLst>
            <pc:docMk/>
            <pc:sldMk cId="4072131230" sldId="2080108012"/>
            <ac:picMk id="6" creationId="{15AEC880-6424-4D2D-A43F-EB21D5E3EE22}"/>
          </ac:picMkLst>
        </pc:picChg>
      </pc:sldChg>
      <pc:sldChg chg="delSp modSp mod">
        <pc:chgData name="Katerine Schifino" userId="37bb67de-9fcf-4611-888c-7e5b58184a2a" providerId="ADAL" clId="{492CA766-37C7-49E7-917E-99FEE8BB3045}" dt="2022-03-09T16:20:34.788" v="2714" actId="2062"/>
        <pc:sldMkLst>
          <pc:docMk/>
          <pc:sldMk cId="3366330402" sldId="2080108015"/>
        </pc:sldMkLst>
        <pc:graphicFrameChg chg="mod modGraphic">
          <ac:chgData name="Katerine Schifino" userId="37bb67de-9fcf-4611-888c-7e5b58184a2a" providerId="ADAL" clId="{492CA766-37C7-49E7-917E-99FEE8BB3045}" dt="2022-03-09T16:20:34.788" v="2714" actId="2062"/>
          <ac:graphicFrameMkLst>
            <pc:docMk/>
            <pc:sldMk cId="3366330402" sldId="2080108015"/>
            <ac:graphicFrameMk id="2" creationId="{DABEA71B-03AC-48AD-8E3A-F5B4F36922D0}"/>
          </ac:graphicFrameMkLst>
        </pc:graphicFrameChg>
        <pc:picChg chg="del">
          <ac:chgData name="Katerine Schifino" userId="37bb67de-9fcf-4611-888c-7e5b58184a2a" providerId="ADAL" clId="{492CA766-37C7-49E7-917E-99FEE8BB3045}" dt="2022-03-09T16:19:16.989" v="2690" actId="478"/>
          <ac:picMkLst>
            <pc:docMk/>
            <pc:sldMk cId="3366330402" sldId="2080108015"/>
            <ac:picMk id="6" creationId="{3362A242-83F6-457B-8E60-D0DBE32F824C}"/>
          </ac:picMkLst>
        </pc:picChg>
      </pc:sldChg>
      <pc:sldChg chg="addSp delSp modSp add mod modClrScheme chgLayout">
        <pc:chgData name="Katerine Schifino" userId="37bb67de-9fcf-4611-888c-7e5b58184a2a" providerId="ADAL" clId="{492CA766-37C7-49E7-917E-99FEE8BB3045}" dt="2022-03-09T19:42:38.832" v="2959" actId="113"/>
        <pc:sldMkLst>
          <pc:docMk/>
          <pc:sldMk cId="1426497053" sldId="2080108116"/>
        </pc:sldMkLst>
        <pc:spChg chg="del">
          <ac:chgData name="Katerine Schifino" userId="37bb67de-9fcf-4611-888c-7e5b58184a2a" providerId="ADAL" clId="{492CA766-37C7-49E7-917E-99FEE8BB3045}" dt="2022-03-09T15:04:42.763" v="1266" actId="478"/>
          <ac:spMkLst>
            <pc:docMk/>
            <pc:sldMk cId="1426497053" sldId="2080108116"/>
            <ac:spMk id="2" creationId="{9F8533BC-6851-41EA-B835-326E5149DD86}"/>
          </ac:spMkLst>
        </pc:spChg>
        <pc:spChg chg="del mod">
          <ac:chgData name="Katerine Schifino" userId="37bb67de-9fcf-4611-888c-7e5b58184a2a" providerId="ADAL" clId="{492CA766-37C7-49E7-917E-99FEE8BB3045}" dt="2022-03-09T19:41:26.187" v="2946" actId="478"/>
          <ac:spMkLst>
            <pc:docMk/>
            <pc:sldMk cId="1426497053" sldId="2080108116"/>
            <ac:spMk id="3" creationId="{3A125754-156C-470B-BE62-4A35A172FB19}"/>
          </ac:spMkLst>
        </pc:spChg>
        <pc:spChg chg="del">
          <ac:chgData name="Katerine Schifino" userId="37bb67de-9fcf-4611-888c-7e5b58184a2a" providerId="ADAL" clId="{492CA766-37C7-49E7-917E-99FEE8BB3045}" dt="2022-03-09T15:04:52.913" v="1269" actId="478"/>
          <ac:spMkLst>
            <pc:docMk/>
            <pc:sldMk cId="1426497053" sldId="2080108116"/>
            <ac:spMk id="4" creationId="{CC71318B-9D64-4833-B76C-A3203D03CACC}"/>
          </ac:spMkLst>
        </pc:spChg>
        <pc:spChg chg="mod">
          <ac:chgData name="Katerine Schifino" userId="37bb67de-9fcf-4611-888c-7e5b58184a2a" providerId="ADAL" clId="{492CA766-37C7-49E7-917E-99FEE8BB3045}" dt="2022-03-09T19:42:38.832" v="2959" actId="113"/>
          <ac:spMkLst>
            <pc:docMk/>
            <pc:sldMk cId="1426497053" sldId="2080108116"/>
            <ac:spMk id="7" creationId="{3438D2E9-4802-4969-A164-540342800350}"/>
          </ac:spMkLst>
        </pc:spChg>
        <pc:spChg chg="del">
          <ac:chgData name="Katerine Schifino" userId="37bb67de-9fcf-4611-888c-7e5b58184a2a" providerId="ADAL" clId="{492CA766-37C7-49E7-917E-99FEE8BB3045}" dt="2022-03-09T15:04:44.177" v="1267" actId="478"/>
          <ac:spMkLst>
            <pc:docMk/>
            <pc:sldMk cId="1426497053" sldId="2080108116"/>
            <ac:spMk id="10" creationId="{C1985FAC-A35A-4481-AC0C-969E28415752}"/>
          </ac:spMkLst>
        </pc:spChg>
        <pc:spChg chg="add mod">
          <ac:chgData name="Katerine Schifino" userId="37bb67de-9fcf-4611-888c-7e5b58184a2a" providerId="ADAL" clId="{492CA766-37C7-49E7-917E-99FEE8BB3045}" dt="2022-03-09T15:12:18.388" v="1595" actId="164"/>
          <ac:spMkLst>
            <pc:docMk/>
            <pc:sldMk cId="1426497053" sldId="2080108116"/>
            <ac:spMk id="16" creationId="{A64088C0-89CA-41C6-99C4-C4F8745042DC}"/>
          </ac:spMkLst>
        </pc:spChg>
        <pc:grpChg chg="del mod">
          <ac:chgData name="Katerine Schifino" userId="37bb67de-9fcf-4611-888c-7e5b58184a2a" providerId="ADAL" clId="{492CA766-37C7-49E7-917E-99FEE8BB3045}" dt="2022-03-09T15:05:19.572" v="1274" actId="478"/>
          <ac:grpSpMkLst>
            <pc:docMk/>
            <pc:sldMk cId="1426497053" sldId="2080108116"/>
            <ac:grpSpMk id="6" creationId="{4E072351-1789-48DD-8E10-B925D5BC3991}"/>
          </ac:grpSpMkLst>
        </pc:grpChg>
        <pc:grpChg chg="add mod">
          <ac:chgData name="Katerine Schifino" userId="37bb67de-9fcf-4611-888c-7e5b58184a2a" providerId="ADAL" clId="{492CA766-37C7-49E7-917E-99FEE8BB3045}" dt="2022-03-09T15:12:18.388" v="1595" actId="164"/>
          <ac:grpSpMkLst>
            <pc:docMk/>
            <pc:sldMk cId="1426497053" sldId="2080108116"/>
            <ac:grpSpMk id="15" creationId="{F88B4913-E6D9-4550-BAB7-B144762708E1}"/>
          </ac:grpSpMkLst>
        </pc:grpChg>
        <pc:picChg chg="del mod">
          <ac:chgData name="Katerine Schifino" userId="37bb67de-9fcf-4611-888c-7e5b58184a2a" providerId="ADAL" clId="{492CA766-37C7-49E7-917E-99FEE8BB3045}" dt="2022-03-09T15:05:19.572" v="1274" actId="478"/>
          <ac:picMkLst>
            <pc:docMk/>
            <pc:sldMk cId="1426497053" sldId="2080108116"/>
            <ac:picMk id="8" creationId="{AC4F510B-4A8C-4F8E-BD92-4043C4CA80E5}"/>
          </ac:picMkLst>
        </pc:picChg>
        <pc:picChg chg="del">
          <ac:chgData name="Katerine Schifino" userId="37bb67de-9fcf-4611-888c-7e5b58184a2a" providerId="ADAL" clId="{492CA766-37C7-49E7-917E-99FEE8BB3045}" dt="2022-03-09T15:05:18.026" v="1273" actId="478"/>
          <ac:picMkLst>
            <pc:docMk/>
            <pc:sldMk cId="1426497053" sldId="2080108116"/>
            <ac:picMk id="9" creationId="{AF9CAD58-C690-4E03-B6D9-974F4FF8929C}"/>
          </ac:picMkLst>
        </pc:picChg>
        <pc:picChg chg="del mod">
          <ac:chgData name="Katerine Schifino" userId="37bb67de-9fcf-4611-888c-7e5b58184a2a" providerId="ADAL" clId="{492CA766-37C7-49E7-917E-99FEE8BB3045}" dt="2022-03-09T15:04:57.946" v="1271" actId="478"/>
          <ac:picMkLst>
            <pc:docMk/>
            <pc:sldMk cId="1426497053" sldId="2080108116"/>
            <ac:picMk id="11" creationId="{0EAF476B-74E4-4735-B19E-1730FADE113F}"/>
          </ac:picMkLst>
        </pc:picChg>
        <pc:picChg chg="del">
          <ac:chgData name="Katerine Schifino" userId="37bb67de-9fcf-4611-888c-7e5b58184a2a" providerId="ADAL" clId="{492CA766-37C7-49E7-917E-99FEE8BB3045}" dt="2022-03-09T15:04:58.946" v="1272" actId="478"/>
          <ac:picMkLst>
            <pc:docMk/>
            <pc:sldMk cId="1426497053" sldId="2080108116"/>
            <ac:picMk id="12" creationId="{B1B50A00-8E11-4B83-B3F0-C9656BD4E466}"/>
          </ac:picMkLst>
        </pc:picChg>
        <pc:picChg chg="add mod">
          <ac:chgData name="Katerine Schifino" userId="37bb67de-9fcf-4611-888c-7e5b58184a2a" providerId="ADAL" clId="{492CA766-37C7-49E7-917E-99FEE8BB3045}" dt="2022-03-09T15:12:18.388" v="1595" actId="164"/>
          <ac:picMkLst>
            <pc:docMk/>
            <pc:sldMk cId="1426497053" sldId="2080108116"/>
            <ac:picMk id="13" creationId="{07E7381A-82B7-4982-AE31-119E4A2D9E67}"/>
          </ac:picMkLst>
        </pc:picChg>
        <pc:picChg chg="add mod modCrop">
          <ac:chgData name="Katerine Schifino" userId="37bb67de-9fcf-4611-888c-7e5b58184a2a" providerId="ADAL" clId="{492CA766-37C7-49E7-917E-99FEE8BB3045}" dt="2022-03-09T19:41:51.349" v="2954" actId="14100"/>
          <ac:picMkLst>
            <pc:docMk/>
            <pc:sldMk cId="1426497053" sldId="2080108116"/>
            <ac:picMk id="18" creationId="{C7CCFAF8-6A8E-4EFA-A4D2-AAD2340E5380}"/>
          </ac:picMkLst>
        </pc:picChg>
        <pc:picChg chg="add mod">
          <ac:chgData name="Katerine Schifino" userId="37bb67de-9fcf-4611-888c-7e5b58184a2a" providerId="ADAL" clId="{492CA766-37C7-49E7-917E-99FEE8BB3045}" dt="2022-03-09T15:11:01.893" v="1559"/>
          <ac:picMkLst>
            <pc:docMk/>
            <pc:sldMk cId="1426497053" sldId="2080108116"/>
            <ac:picMk id="3074" creationId="{5B278266-C96B-4389-91CA-C0E1FB3B1299}"/>
          </ac:picMkLst>
        </pc:picChg>
        <pc:picChg chg="add del">
          <ac:chgData name="Katerine Schifino" userId="37bb67de-9fcf-4611-888c-7e5b58184a2a" providerId="ADAL" clId="{492CA766-37C7-49E7-917E-99FEE8BB3045}" dt="2022-03-09T19:41:05.761" v="2942" actId="478"/>
          <ac:picMkLst>
            <pc:docMk/>
            <pc:sldMk cId="1426497053" sldId="2080108116"/>
            <ac:picMk id="3076" creationId="{DB1AFFD2-8269-400D-A4CF-37C35AE4FAA1}"/>
          </ac:picMkLst>
        </pc:picChg>
      </pc:sldChg>
      <pc:sldChg chg="modSp mod">
        <pc:chgData name="Katerine Schifino" userId="37bb67de-9fcf-4611-888c-7e5b58184a2a" providerId="ADAL" clId="{492CA766-37C7-49E7-917E-99FEE8BB3045}" dt="2022-03-09T16:24:39.998" v="2809" actId="20577"/>
        <pc:sldMkLst>
          <pc:docMk/>
          <pc:sldMk cId="4057349764" sldId="2146846065"/>
        </pc:sldMkLst>
        <pc:graphicFrameChg chg="mod modGraphic">
          <ac:chgData name="Katerine Schifino" userId="37bb67de-9fcf-4611-888c-7e5b58184a2a" providerId="ADAL" clId="{492CA766-37C7-49E7-917E-99FEE8BB3045}" dt="2022-03-09T16:24:39.998" v="2809" actId="20577"/>
          <ac:graphicFrameMkLst>
            <pc:docMk/>
            <pc:sldMk cId="4057349764" sldId="2146846065"/>
            <ac:graphicFrameMk id="2" creationId="{DABEA71B-03AC-48AD-8E3A-F5B4F36922D0}"/>
          </ac:graphicFrameMkLst>
        </pc:graphicFrameChg>
      </pc:sldChg>
      <pc:sldChg chg="addSp modSp del mod">
        <pc:chgData name="Katerine Schifino" userId="37bb67de-9fcf-4611-888c-7e5b58184a2a" providerId="ADAL" clId="{492CA766-37C7-49E7-917E-99FEE8BB3045}" dt="2022-03-14T14:10:41.054" v="3958" actId="47"/>
        <pc:sldMkLst>
          <pc:docMk/>
          <pc:sldMk cId="1390084327" sldId="2146846067"/>
        </pc:sldMkLst>
        <pc:spChg chg="mod">
          <ac:chgData name="Katerine Schifino" userId="37bb67de-9fcf-4611-888c-7e5b58184a2a" providerId="ADAL" clId="{492CA766-37C7-49E7-917E-99FEE8BB3045}" dt="2022-03-14T13:38:29.186" v="3956" actId="14100"/>
          <ac:spMkLst>
            <pc:docMk/>
            <pc:sldMk cId="1390084327" sldId="2146846067"/>
            <ac:spMk id="4" creationId="{2ED80763-D8A0-45A2-9778-83954983BC11}"/>
          </ac:spMkLst>
        </pc:spChg>
        <pc:picChg chg="add mod">
          <ac:chgData name="Katerine Schifino" userId="37bb67de-9fcf-4611-888c-7e5b58184a2a" providerId="ADAL" clId="{492CA766-37C7-49E7-917E-99FEE8BB3045}" dt="2022-03-14T13:38:05.446" v="3955"/>
          <ac:picMkLst>
            <pc:docMk/>
            <pc:sldMk cId="1390084327" sldId="2146846067"/>
            <ac:picMk id="5" creationId="{B305597F-6A3A-4525-BDBD-670786067270}"/>
          </ac:picMkLst>
        </pc:picChg>
      </pc:sldChg>
      <pc:sldChg chg="modSp mod ord">
        <pc:chgData name="Katerine Schifino" userId="37bb67de-9fcf-4611-888c-7e5b58184a2a" providerId="ADAL" clId="{492CA766-37C7-49E7-917E-99FEE8BB3045}" dt="2022-03-09T15:02:18.347" v="1254" actId="13926"/>
        <pc:sldMkLst>
          <pc:docMk/>
          <pc:sldMk cId="3769645891" sldId="2146846068"/>
        </pc:sldMkLst>
        <pc:spChg chg="mod">
          <ac:chgData name="Katerine Schifino" userId="37bb67de-9fcf-4611-888c-7e5b58184a2a" providerId="ADAL" clId="{492CA766-37C7-49E7-917E-99FEE8BB3045}" dt="2022-03-09T15:02:18.347" v="1254" actId="13926"/>
          <ac:spMkLst>
            <pc:docMk/>
            <pc:sldMk cId="3769645891" sldId="2146846068"/>
            <ac:spMk id="2" creationId="{C0E9A057-F805-4750-9C97-49B491EDA40C}"/>
          </ac:spMkLst>
        </pc:spChg>
        <pc:spChg chg="mod">
          <ac:chgData name="Katerine Schifino" userId="37bb67de-9fcf-4611-888c-7e5b58184a2a" providerId="ADAL" clId="{492CA766-37C7-49E7-917E-99FEE8BB3045}" dt="2022-03-09T14:50:07.148" v="991" actId="20577"/>
          <ac:spMkLst>
            <pc:docMk/>
            <pc:sldMk cId="3769645891" sldId="2146846068"/>
            <ac:spMk id="3" creationId="{F4A95292-C17D-4596-AC2A-D617A46EBAA8}"/>
          </ac:spMkLst>
        </pc:spChg>
      </pc:sldChg>
      <pc:sldChg chg="del">
        <pc:chgData name="Katerine Schifino" userId="37bb67de-9fcf-4611-888c-7e5b58184a2a" providerId="ADAL" clId="{492CA766-37C7-49E7-917E-99FEE8BB3045}" dt="2022-03-09T14:40:53.997" v="931" actId="47"/>
        <pc:sldMkLst>
          <pc:docMk/>
          <pc:sldMk cId="555850471" sldId="2146846069"/>
        </pc:sldMkLst>
      </pc:sldChg>
      <pc:sldChg chg="modSp mod addCm delCm">
        <pc:chgData name="Katerine Schifino" userId="37bb67de-9fcf-4611-888c-7e5b58184a2a" providerId="ADAL" clId="{492CA766-37C7-49E7-917E-99FEE8BB3045}" dt="2022-03-09T14:47:31.236" v="973" actId="1076"/>
        <pc:sldMkLst>
          <pc:docMk/>
          <pc:sldMk cId="4180197559" sldId="2146846071"/>
        </pc:sldMkLst>
        <pc:spChg chg="mod">
          <ac:chgData name="Katerine Schifino" userId="37bb67de-9fcf-4611-888c-7e5b58184a2a" providerId="ADAL" clId="{492CA766-37C7-49E7-917E-99FEE8BB3045}" dt="2022-03-09T13:18:07.170" v="65" actId="6549"/>
          <ac:spMkLst>
            <pc:docMk/>
            <pc:sldMk cId="4180197559" sldId="2146846071"/>
            <ac:spMk id="3" creationId="{D27D7BD4-79A4-4F74-AEDD-B6DF3D38FA7F}"/>
          </ac:spMkLst>
        </pc:spChg>
        <pc:spChg chg="mod">
          <ac:chgData name="Katerine Schifino" userId="37bb67de-9fcf-4611-888c-7e5b58184a2a" providerId="ADAL" clId="{492CA766-37C7-49E7-917E-99FEE8BB3045}" dt="2022-03-09T14:46:55.658" v="963" actId="1076"/>
          <ac:spMkLst>
            <pc:docMk/>
            <pc:sldMk cId="4180197559" sldId="2146846071"/>
            <ac:spMk id="4" creationId="{7504F8EF-3D40-4067-9FEF-5028299DDC11}"/>
          </ac:spMkLst>
        </pc:spChg>
        <pc:spChg chg="mod">
          <ac:chgData name="Katerine Schifino" userId="37bb67de-9fcf-4611-888c-7e5b58184a2a" providerId="ADAL" clId="{492CA766-37C7-49E7-917E-99FEE8BB3045}" dt="2022-03-09T14:47:04.327" v="964" actId="1076"/>
          <ac:spMkLst>
            <pc:docMk/>
            <pc:sldMk cId="4180197559" sldId="2146846071"/>
            <ac:spMk id="5" creationId="{D9850037-D7A2-457D-9ADB-F7F097BCB3B1}"/>
          </ac:spMkLst>
        </pc:spChg>
        <pc:spChg chg="mod">
          <ac:chgData name="Katerine Schifino" userId="37bb67de-9fcf-4611-888c-7e5b58184a2a" providerId="ADAL" clId="{492CA766-37C7-49E7-917E-99FEE8BB3045}" dt="2022-03-09T14:47:27.787" v="972" actId="1076"/>
          <ac:spMkLst>
            <pc:docMk/>
            <pc:sldMk cId="4180197559" sldId="2146846071"/>
            <ac:spMk id="7" creationId="{0E90C0D4-D0BD-45D6-BBF0-7A575360FB1A}"/>
          </ac:spMkLst>
        </pc:spChg>
        <pc:spChg chg="mod">
          <ac:chgData name="Katerine Schifino" userId="37bb67de-9fcf-4611-888c-7e5b58184a2a" providerId="ADAL" clId="{492CA766-37C7-49E7-917E-99FEE8BB3045}" dt="2022-03-09T14:47:31.236" v="973" actId="1076"/>
          <ac:spMkLst>
            <pc:docMk/>
            <pc:sldMk cId="4180197559" sldId="2146846071"/>
            <ac:spMk id="10" creationId="{A5B12F80-DF72-4288-96C7-59EB50B81B32}"/>
          </ac:spMkLst>
        </pc:spChg>
        <pc:spChg chg="mod">
          <ac:chgData name="Katerine Schifino" userId="37bb67de-9fcf-4611-888c-7e5b58184a2a" providerId="ADAL" clId="{492CA766-37C7-49E7-917E-99FEE8BB3045}" dt="2022-03-09T14:47:25.926" v="971" actId="1076"/>
          <ac:spMkLst>
            <pc:docMk/>
            <pc:sldMk cId="4180197559" sldId="2146846071"/>
            <ac:spMk id="12" creationId="{1503C958-514F-4ADD-B389-5EE838BE0E8D}"/>
          </ac:spMkLst>
        </pc:spChg>
      </pc:sldChg>
      <pc:sldChg chg="del">
        <pc:chgData name="Katerine Schifino" userId="37bb67de-9fcf-4611-888c-7e5b58184a2a" providerId="ADAL" clId="{492CA766-37C7-49E7-917E-99FEE8BB3045}" dt="2022-03-09T15:01:14.716" v="1247" actId="47"/>
        <pc:sldMkLst>
          <pc:docMk/>
          <pc:sldMk cId="861993220" sldId="2146846072"/>
        </pc:sldMkLst>
      </pc:sldChg>
      <pc:sldChg chg="addSp delSp modSp add mod">
        <pc:chgData name="Katerine Schifino" userId="37bb67de-9fcf-4611-888c-7e5b58184a2a" providerId="ADAL" clId="{492CA766-37C7-49E7-917E-99FEE8BB3045}" dt="2022-03-09T20:12:34.540" v="3140" actId="13926"/>
        <pc:sldMkLst>
          <pc:docMk/>
          <pc:sldMk cId="712470240" sldId="2146846073"/>
        </pc:sldMkLst>
        <pc:spChg chg="mod">
          <ac:chgData name="Katerine Schifino" userId="37bb67de-9fcf-4611-888c-7e5b58184a2a" providerId="ADAL" clId="{492CA766-37C7-49E7-917E-99FEE8BB3045}" dt="2022-03-09T15:52:10.480" v="1978" actId="20577"/>
          <ac:spMkLst>
            <pc:docMk/>
            <pc:sldMk cId="712470240" sldId="2146846073"/>
            <ac:spMk id="3" creationId="{D27D7BD4-79A4-4F74-AEDD-B6DF3D38FA7F}"/>
          </ac:spMkLst>
        </pc:spChg>
        <pc:spChg chg="add mod">
          <ac:chgData name="Katerine Schifino" userId="37bb67de-9fcf-4611-888c-7e5b58184a2a" providerId="ADAL" clId="{492CA766-37C7-49E7-917E-99FEE8BB3045}" dt="2022-03-09T16:09:56.659" v="2584" actId="164"/>
          <ac:spMkLst>
            <pc:docMk/>
            <pc:sldMk cId="712470240" sldId="2146846073"/>
            <ac:spMk id="5" creationId="{7D9354DC-5CC4-4010-9183-2BED901884E6}"/>
          </ac:spMkLst>
        </pc:spChg>
        <pc:spChg chg="add mod">
          <ac:chgData name="Katerine Schifino" userId="37bb67de-9fcf-4611-888c-7e5b58184a2a" providerId="ADAL" clId="{492CA766-37C7-49E7-917E-99FEE8BB3045}" dt="2022-03-09T16:09:56.659" v="2584" actId="164"/>
          <ac:spMkLst>
            <pc:docMk/>
            <pc:sldMk cId="712470240" sldId="2146846073"/>
            <ac:spMk id="6" creationId="{0CDCC2EF-246E-4F21-A317-3BF2002E2566}"/>
          </ac:spMkLst>
        </pc:spChg>
        <pc:spChg chg="add mod">
          <ac:chgData name="Katerine Schifino" userId="37bb67de-9fcf-4611-888c-7e5b58184a2a" providerId="ADAL" clId="{492CA766-37C7-49E7-917E-99FEE8BB3045}" dt="2022-03-09T16:09:56.659" v="2584" actId="164"/>
          <ac:spMkLst>
            <pc:docMk/>
            <pc:sldMk cId="712470240" sldId="2146846073"/>
            <ac:spMk id="7" creationId="{AE1E355F-38DB-4F9F-878E-F2F39A426625}"/>
          </ac:spMkLst>
        </pc:spChg>
        <pc:spChg chg="add mod">
          <ac:chgData name="Katerine Schifino" userId="37bb67de-9fcf-4611-888c-7e5b58184a2a" providerId="ADAL" clId="{492CA766-37C7-49E7-917E-99FEE8BB3045}" dt="2022-03-09T16:09:56.659" v="2584" actId="164"/>
          <ac:spMkLst>
            <pc:docMk/>
            <pc:sldMk cId="712470240" sldId="2146846073"/>
            <ac:spMk id="8" creationId="{A2BD699A-68FF-4C55-AAC0-3FAEF1407054}"/>
          </ac:spMkLst>
        </pc:spChg>
        <pc:spChg chg="add mod">
          <ac:chgData name="Katerine Schifino" userId="37bb67de-9fcf-4611-888c-7e5b58184a2a" providerId="ADAL" clId="{492CA766-37C7-49E7-917E-99FEE8BB3045}" dt="2022-03-09T16:09:56.659" v="2584" actId="164"/>
          <ac:spMkLst>
            <pc:docMk/>
            <pc:sldMk cId="712470240" sldId="2146846073"/>
            <ac:spMk id="9" creationId="{15BEE31B-5781-4B16-9E0F-02B4A20FAAED}"/>
          </ac:spMkLst>
        </pc:spChg>
        <pc:spChg chg="add mod">
          <ac:chgData name="Katerine Schifino" userId="37bb67de-9fcf-4611-888c-7e5b58184a2a" providerId="ADAL" clId="{492CA766-37C7-49E7-917E-99FEE8BB3045}" dt="2022-03-09T20:12:34.540" v="3140" actId="13926"/>
          <ac:spMkLst>
            <pc:docMk/>
            <pc:sldMk cId="712470240" sldId="2146846073"/>
            <ac:spMk id="30" creationId="{D8157CB6-4DF4-43E1-8A7F-40D04CEFD42B}"/>
          </ac:spMkLst>
        </pc:spChg>
        <pc:grpChg chg="add mod">
          <ac:chgData name="Katerine Schifino" userId="37bb67de-9fcf-4611-888c-7e5b58184a2a" providerId="ADAL" clId="{492CA766-37C7-49E7-917E-99FEE8BB3045}" dt="2022-03-09T20:12:06.038" v="3134" actId="1037"/>
          <ac:grpSpMkLst>
            <pc:docMk/>
            <pc:sldMk cId="712470240" sldId="2146846073"/>
            <ac:grpSpMk id="10" creationId="{B4B43A47-6457-49A6-8EE2-A695193BF980}"/>
          </ac:grpSpMkLst>
        </pc:grpChg>
        <pc:grpChg chg="add mod">
          <ac:chgData name="Katerine Schifino" userId="37bb67de-9fcf-4611-888c-7e5b58184a2a" providerId="ADAL" clId="{492CA766-37C7-49E7-917E-99FEE8BB3045}" dt="2022-03-09T20:12:06.038" v="3134" actId="1037"/>
          <ac:grpSpMkLst>
            <pc:docMk/>
            <pc:sldMk cId="712470240" sldId="2146846073"/>
            <ac:grpSpMk id="19" creationId="{CF631584-7E49-4E86-8E81-CD6275F6C785}"/>
          </ac:grpSpMkLst>
        </pc:grpChg>
        <pc:grpChg chg="add mod">
          <ac:chgData name="Katerine Schifino" userId="37bb67de-9fcf-4611-888c-7e5b58184a2a" providerId="ADAL" clId="{492CA766-37C7-49E7-917E-99FEE8BB3045}" dt="2022-03-09T20:12:06.038" v="3134" actId="1037"/>
          <ac:grpSpMkLst>
            <pc:docMk/>
            <pc:sldMk cId="712470240" sldId="2146846073"/>
            <ac:grpSpMk id="23" creationId="{A2CDDBF8-4862-4521-9F9B-AD100E77F5F9}"/>
          </ac:grpSpMkLst>
        </pc:grpChg>
        <pc:graphicFrameChg chg="add mod modGraphic">
          <ac:chgData name="Katerine Schifino" userId="37bb67de-9fcf-4611-888c-7e5b58184a2a" providerId="ADAL" clId="{492CA766-37C7-49E7-917E-99FEE8BB3045}" dt="2022-03-09T20:12:06.038" v="3134" actId="1037"/>
          <ac:graphicFrameMkLst>
            <pc:docMk/>
            <pc:sldMk cId="712470240" sldId="2146846073"/>
            <ac:graphicFrameMk id="4" creationId="{326B6A2F-F2C7-4441-BB0F-3A06BF275B7F}"/>
          </ac:graphicFrameMkLst>
        </pc:graphicFrameChg>
        <pc:picChg chg="del mod">
          <ac:chgData name="Katerine Schifino" userId="37bb67de-9fcf-4611-888c-7e5b58184a2a" providerId="ADAL" clId="{492CA766-37C7-49E7-917E-99FEE8BB3045}" dt="2022-03-09T16:06:20.760" v="2541" actId="478"/>
          <ac:picMkLst>
            <pc:docMk/>
            <pc:sldMk cId="712470240" sldId="2146846073"/>
            <ac:picMk id="2" creationId="{3A6E22DD-C012-4944-A95D-6B53D459499F}"/>
          </ac:picMkLst>
        </pc:picChg>
        <pc:picChg chg="add mod">
          <ac:chgData name="Katerine Schifino" userId="37bb67de-9fcf-4611-888c-7e5b58184a2a" providerId="ADAL" clId="{492CA766-37C7-49E7-917E-99FEE8BB3045}" dt="2022-03-09T20:12:06.038" v="3134" actId="1037"/>
          <ac:picMkLst>
            <pc:docMk/>
            <pc:sldMk cId="712470240" sldId="2146846073"/>
            <ac:picMk id="12" creationId="{99840CD3-749B-4C75-B90F-8DB28CBD5C4C}"/>
          </ac:picMkLst>
        </pc:picChg>
        <pc:picChg chg="add mod">
          <ac:chgData name="Katerine Schifino" userId="37bb67de-9fcf-4611-888c-7e5b58184a2a" providerId="ADAL" clId="{492CA766-37C7-49E7-917E-99FEE8BB3045}" dt="2022-03-09T20:12:06.038" v="3134" actId="1037"/>
          <ac:picMkLst>
            <pc:docMk/>
            <pc:sldMk cId="712470240" sldId="2146846073"/>
            <ac:picMk id="14" creationId="{3F9525FD-F953-4DA6-894B-697C087CD3CD}"/>
          </ac:picMkLst>
        </pc:picChg>
        <pc:picChg chg="add mod">
          <ac:chgData name="Katerine Schifino" userId="37bb67de-9fcf-4611-888c-7e5b58184a2a" providerId="ADAL" clId="{492CA766-37C7-49E7-917E-99FEE8BB3045}" dt="2022-03-09T16:14:07.758" v="2638" actId="1076"/>
          <ac:picMkLst>
            <pc:docMk/>
            <pc:sldMk cId="712470240" sldId="2146846073"/>
            <ac:picMk id="16" creationId="{812FC9E2-BA2C-44E6-B39B-18F346ED3BEF}"/>
          </ac:picMkLst>
        </pc:picChg>
        <pc:picChg chg="add mod ord">
          <ac:chgData name="Katerine Schifino" userId="37bb67de-9fcf-4611-888c-7e5b58184a2a" providerId="ADAL" clId="{492CA766-37C7-49E7-917E-99FEE8BB3045}" dt="2022-03-09T16:13:56.339" v="2634" actId="14100"/>
          <ac:picMkLst>
            <pc:docMk/>
            <pc:sldMk cId="712470240" sldId="2146846073"/>
            <ac:picMk id="18" creationId="{D4B0E928-F7F8-4E76-9D01-032E3CE43909}"/>
          </ac:picMkLst>
        </pc:picChg>
        <pc:picChg chg="add mod">
          <ac:chgData name="Katerine Schifino" userId="37bb67de-9fcf-4611-888c-7e5b58184a2a" providerId="ADAL" clId="{492CA766-37C7-49E7-917E-99FEE8BB3045}" dt="2022-03-09T16:15:27.274" v="2665" actId="164"/>
          <ac:picMkLst>
            <pc:docMk/>
            <pc:sldMk cId="712470240" sldId="2146846073"/>
            <ac:picMk id="21" creationId="{8667FC2C-1F7D-4B0A-892C-7A381A59CF61}"/>
          </ac:picMkLst>
        </pc:picChg>
        <pc:picChg chg="add mod modCrop">
          <ac:chgData name="Katerine Schifino" userId="37bb67de-9fcf-4611-888c-7e5b58184a2a" providerId="ADAL" clId="{492CA766-37C7-49E7-917E-99FEE8BB3045}" dt="2022-03-09T16:15:27.274" v="2665" actId="164"/>
          <ac:picMkLst>
            <pc:docMk/>
            <pc:sldMk cId="712470240" sldId="2146846073"/>
            <ac:picMk id="22" creationId="{0D19FE81-0A88-4506-9810-2A711F65E93D}"/>
          </ac:picMkLst>
        </pc:picChg>
        <pc:picChg chg="add del mod ord">
          <ac:chgData name="Katerine Schifino" userId="37bb67de-9fcf-4611-888c-7e5b58184a2a" providerId="ADAL" clId="{492CA766-37C7-49E7-917E-99FEE8BB3045}" dt="2022-03-09T16:17:07.592" v="2679" actId="478"/>
          <ac:picMkLst>
            <pc:docMk/>
            <pc:sldMk cId="712470240" sldId="2146846073"/>
            <ac:picMk id="25" creationId="{6C53EA0B-CA62-4C8E-85B3-B5A44666F68C}"/>
          </ac:picMkLst>
        </pc:picChg>
        <pc:picChg chg="add mod">
          <ac:chgData name="Katerine Schifino" userId="37bb67de-9fcf-4611-888c-7e5b58184a2a" providerId="ADAL" clId="{492CA766-37C7-49E7-917E-99FEE8BB3045}" dt="2022-03-09T20:12:06.038" v="3134" actId="1037"/>
          <ac:picMkLst>
            <pc:docMk/>
            <pc:sldMk cId="712470240" sldId="2146846073"/>
            <ac:picMk id="27" creationId="{E50DBF20-B1F7-45DE-9E7D-7DF5DF8C285E}"/>
          </ac:picMkLst>
        </pc:picChg>
        <pc:picChg chg="add mod">
          <ac:chgData name="Katerine Schifino" userId="37bb67de-9fcf-4611-888c-7e5b58184a2a" providerId="ADAL" clId="{492CA766-37C7-49E7-917E-99FEE8BB3045}" dt="2022-03-09T20:12:06.038" v="3134" actId="1037"/>
          <ac:picMkLst>
            <pc:docMk/>
            <pc:sldMk cId="712470240" sldId="2146846073"/>
            <ac:picMk id="29" creationId="{505C2299-8E21-4BB5-9277-7D1C3E37222B}"/>
          </ac:picMkLst>
        </pc:picChg>
      </pc:sldChg>
      <pc:sldChg chg="del">
        <pc:chgData name="Katerine Schifino" userId="37bb67de-9fcf-4611-888c-7e5b58184a2a" providerId="ADAL" clId="{492CA766-37C7-49E7-917E-99FEE8BB3045}" dt="2022-03-09T15:01:17.759" v="1248" actId="2696"/>
        <pc:sldMkLst>
          <pc:docMk/>
          <pc:sldMk cId="1248321786" sldId="2146846073"/>
        </pc:sldMkLst>
      </pc:sldChg>
      <pc:sldChg chg="modSp mod">
        <pc:chgData name="Katerine Schifino" userId="37bb67de-9fcf-4611-888c-7e5b58184a2a" providerId="ADAL" clId="{492CA766-37C7-49E7-917E-99FEE8BB3045}" dt="2022-03-09T14:23:41.407" v="816" actId="20577"/>
        <pc:sldMkLst>
          <pc:docMk/>
          <pc:sldMk cId="3012924003" sldId="2146846074"/>
        </pc:sldMkLst>
        <pc:spChg chg="mod">
          <ac:chgData name="Katerine Schifino" userId="37bb67de-9fcf-4611-888c-7e5b58184a2a" providerId="ADAL" clId="{492CA766-37C7-49E7-917E-99FEE8BB3045}" dt="2022-03-09T14:19:55.191" v="731"/>
          <ac:spMkLst>
            <pc:docMk/>
            <pc:sldMk cId="3012924003" sldId="2146846074"/>
            <ac:spMk id="3" creationId="{D27D7BD4-79A4-4F74-AEDD-B6DF3D38FA7F}"/>
          </ac:spMkLst>
        </pc:spChg>
        <pc:spChg chg="mod">
          <ac:chgData name="Katerine Schifino" userId="37bb67de-9fcf-4611-888c-7e5b58184a2a" providerId="ADAL" clId="{492CA766-37C7-49E7-917E-99FEE8BB3045}" dt="2022-03-09T14:23:41.407" v="816" actId="20577"/>
          <ac:spMkLst>
            <pc:docMk/>
            <pc:sldMk cId="3012924003" sldId="2146846074"/>
            <ac:spMk id="4" creationId="{7504F8EF-3D40-4067-9FEF-5028299DDC11}"/>
          </ac:spMkLst>
        </pc:spChg>
        <pc:spChg chg="mod">
          <ac:chgData name="Katerine Schifino" userId="37bb67de-9fcf-4611-888c-7e5b58184a2a" providerId="ADAL" clId="{492CA766-37C7-49E7-917E-99FEE8BB3045}" dt="2022-03-09T14:20:08.436" v="734" actId="20577"/>
          <ac:spMkLst>
            <pc:docMk/>
            <pc:sldMk cId="3012924003" sldId="2146846074"/>
            <ac:spMk id="11" creationId="{B424CB56-823B-445C-9577-2CB6DDE1B33B}"/>
          </ac:spMkLst>
        </pc:spChg>
        <pc:picChg chg="mod">
          <ac:chgData name="Katerine Schifino" userId="37bb67de-9fcf-4611-888c-7e5b58184a2a" providerId="ADAL" clId="{492CA766-37C7-49E7-917E-99FEE8BB3045}" dt="2022-03-09T14:20:11.427" v="735" actId="1076"/>
          <ac:picMkLst>
            <pc:docMk/>
            <pc:sldMk cId="3012924003" sldId="2146846074"/>
            <ac:picMk id="14" creationId="{8E5BFA40-0BCE-44A9-938F-7C22F35BAAEB}"/>
          </ac:picMkLst>
        </pc:picChg>
      </pc:sldChg>
      <pc:sldChg chg="addSp delSp modSp mod">
        <pc:chgData name="Katerine Schifino" userId="37bb67de-9fcf-4611-888c-7e5b58184a2a" providerId="ADAL" clId="{492CA766-37C7-49E7-917E-99FEE8BB3045}" dt="2022-03-09T14:37:40.921" v="912"/>
        <pc:sldMkLst>
          <pc:docMk/>
          <pc:sldMk cId="4122836090" sldId="2146846075"/>
        </pc:sldMkLst>
        <pc:spChg chg="del">
          <ac:chgData name="Katerine Schifino" userId="37bb67de-9fcf-4611-888c-7e5b58184a2a" providerId="ADAL" clId="{492CA766-37C7-49E7-917E-99FEE8BB3045}" dt="2022-03-09T14:35:26.847" v="898" actId="478"/>
          <ac:spMkLst>
            <pc:docMk/>
            <pc:sldMk cId="4122836090" sldId="2146846075"/>
            <ac:spMk id="3" creationId="{D27D7BD4-79A4-4F74-AEDD-B6DF3D38FA7F}"/>
          </ac:spMkLst>
        </pc:spChg>
        <pc:spChg chg="add mod">
          <ac:chgData name="Katerine Schifino" userId="37bb67de-9fcf-4611-888c-7e5b58184a2a" providerId="ADAL" clId="{492CA766-37C7-49E7-917E-99FEE8BB3045}" dt="2022-03-09T14:35:31.057" v="899"/>
          <ac:spMkLst>
            <pc:docMk/>
            <pc:sldMk cId="4122836090" sldId="2146846075"/>
            <ac:spMk id="9" creationId="{2FCFE592-530A-4651-998D-F0856801D1AF}"/>
          </ac:spMkLst>
        </pc:spChg>
        <pc:spChg chg="mod">
          <ac:chgData name="Katerine Schifino" userId="37bb67de-9fcf-4611-888c-7e5b58184a2a" providerId="ADAL" clId="{492CA766-37C7-49E7-917E-99FEE8BB3045}" dt="2022-03-09T14:35:42.826" v="900"/>
          <ac:spMkLst>
            <pc:docMk/>
            <pc:sldMk cId="4122836090" sldId="2146846075"/>
            <ac:spMk id="11" creationId="{F74AEC07-E85F-4073-8C19-F3127E279015}"/>
          </ac:spMkLst>
        </pc:spChg>
        <pc:spChg chg="mod">
          <ac:chgData name="Katerine Schifino" userId="37bb67de-9fcf-4611-888c-7e5b58184a2a" providerId="ADAL" clId="{492CA766-37C7-49E7-917E-99FEE8BB3045}" dt="2022-03-09T14:37:40.787" v="911"/>
          <ac:spMkLst>
            <pc:docMk/>
            <pc:sldMk cId="4122836090" sldId="2146846075"/>
            <ac:spMk id="12" creationId="{91CECFEF-FEFA-4593-A199-D8A9623C8C5B}"/>
          </ac:spMkLst>
        </pc:spChg>
        <pc:spChg chg="mod">
          <ac:chgData name="Katerine Schifino" userId="37bb67de-9fcf-4611-888c-7e5b58184a2a" providerId="ADAL" clId="{492CA766-37C7-49E7-917E-99FEE8BB3045}" dt="2022-03-09T14:37:40.921" v="912"/>
          <ac:spMkLst>
            <pc:docMk/>
            <pc:sldMk cId="4122836090" sldId="2146846075"/>
            <ac:spMk id="13" creationId="{0CC1DEC0-02FA-4074-9C99-500B9CED8FE2}"/>
          </ac:spMkLst>
        </pc:spChg>
        <pc:picChg chg="mod">
          <ac:chgData name="Katerine Schifino" userId="37bb67de-9fcf-4611-888c-7e5b58184a2a" providerId="ADAL" clId="{492CA766-37C7-49E7-917E-99FEE8BB3045}" dt="2022-03-09T14:37:37.917" v="907" actId="1076"/>
          <ac:picMkLst>
            <pc:docMk/>
            <pc:sldMk cId="4122836090" sldId="2146846075"/>
            <ac:picMk id="10" creationId="{846E2FC0-77AB-42F1-8A0F-2DFD6764B5D6}"/>
          </ac:picMkLst>
        </pc:picChg>
      </pc:sldChg>
      <pc:sldChg chg="addSp delSp modSp mod">
        <pc:chgData name="Katerine Schifino" userId="37bb67de-9fcf-4611-888c-7e5b58184a2a" providerId="ADAL" clId="{492CA766-37C7-49E7-917E-99FEE8BB3045}" dt="2022-03-09T14:35:20.051" v="897" actId="1036"/>
        <pc:sldMkLst>
          <pc:docMk/>
          <pc:sldMk cId="1404460967" sldId="2146846076"/>
        </pc:sldMkLst>
        <pc:spChg chg="del">
          <ac:chgData name="Katerine Schifino" userId="37bb67de-9fcf-4611-888c-7e5b58184a2a" providerId="ADAL" clId="{492CA766-37C7-49E7-917E-99FEE8BB3045}" dt="2022-03-09T14:31:51.539" v="849" actId="478"/>
          <ac:spMkLst>
            <pc:docMk/>
            <pc:sldMk cId="1404460967" sldId="2146846076"/>
            <ac:spMk id="3" creationId="{D27D7BD4-79A4-4F74-AEDD-B6DF3D38FA7F}"/>
          </ac:spMkLst>
        </pc:spChg>
        <pc:spChg chg="mod">
          <ac:chgData name="Katerine Schifino" userId="37bb67de-9fcf-4611-888c-7e5b58184a2a" providerId="ADAL" clId="{492CA766-37C7-49E7-917E-99FEE8BB3045}" dt="2022-03-09T14:35:20.051" v="897" actId="1036"/>
          <ac:spMkLst>
            <pc:docMk/>
            <pc:sldMk cId="1404460967" sldId="2146846076"/>
            <ac:spMk id="6" creationId="{71A25CD7-6CCF-4E2A-9B2D-BB50E91B49CE}"/>
          </ac:spMkLst>
        </pc:spChg>
        <pc:spChg chg="add del mod">
          <ac:chgData name="Katerine Schifino" userId="37bb67de-9fcf-4611-888c-7e5b58184a2a" providerId="ADAL" clId="{492CA766-37C7-49E7-917E-99FEE8BB3045}" dt="2022-03-09T14:31:55.748" v="850" actId="478"/>
          <ac:spMkLst>
            <pc:docMk/>
            <pc:sldMk cId="1404460967" sldId="2146846076"/>
            <ac:spMk id="13" creationId="{49C528A4-DAA3-4D33-868E-B737F7B977A8}"/>
          </ac:spMkLst>
        </pc:spChg>
        <pc:spChg chg="add mod">
          <ac:chgData name="Katerine Schifino" userId="37bb67de-9fcf-4611-888c-7e5b58184a2a" providerId="ADAL" clId="{492CA766-37C7-49E7-917E-99FEE8BB3045}" dt="2022-03-09T14:31:59.089" v="851"/>
          <ac:spMkLst>
            <pc:docMk/>
            <pc:sldMk cId="1404460967" sldId="2146846076"/>
            <ac:spMk id="15" creationId="{8A9F9442-1CAD-4AD8-9F4E-5FE9AB029F92}"/>
          </ac:spMkLst>
        </pc:spChg>
        <pc:spChg chg="mod">
          <ac:chgData name="Katerine Schifino" userId="37bb67de-9fcf-4611-888c-7e5b58184a2a" providerId="ADAL" clId="{492CA766-37C7-49E7-917E-99FEE8BB3045}" dt="2022-03-09T14:35:15.997" v="881" actId="1076"/>
          <ac:spMkLst>
            <pc:docMk/>
            <pc:sldMk cId="1404460967" sldId="2146846076"/>
            <ac:spMk id="19" creationId="{2A37B2C1-EC96-4DAE-9234-FCB90C5F3AA4}"/>
          </ac:spMkLst>
        </pc:spChg>
        <pc:picChg chg="mod">
          <ac:chgData name="Katerine Schifino" userId="37bb67de-9fcf-4611-888c-7e5b58184a2a" providerId="ADAL" clId="{492CA766-37C7-49E7-917E-99FEE8BB3045}" dt="2022-03-09T14:35:20.051" v="897" actId="1036"/>
          <ac:picMkLst>
            <pc:docMk/>
            <pc:sldMk cId="1404460967" sldId="2146846076"/>
            <ac:picMk id="5" creationId="{811F8E85-77A5-4D98-AD38-895E6E8EFBEE}"/>
          </ac:picMkLst>
        </pc:picChg>
        <pc:picChg chg="mod">
          <ac:chgData name="Katerine Schifino" userId="37bb67de-9fcf-4611-888c-7e5b58184a2a" providerId="ADAL" clId="{492CA766-37C7-49E7-917E-99FEE8BB3045}" dt="2022-03-09T14:35:20.051" v="897" actId="1036"/>
          <ac:picMkLst>
            <pc:docMk/>
            <pc:sldMk cId="1404460967" sldId="2146846076"/>
            <ac:picMk id="8" creationId="{85302F0A-E4AF-4909-B628-B62708D9C850}"/>
          </ac:picMkLst>
        </pc:picChg>
        <pc:picChg chg="mod">
          <ac:chgData name="Katerine Schifino" userId="37bb67de-9fcf-4611-888c-7e5b58184a2a" providerId="ADAL" clId="{492CA766-37C7-49E7-917E-99FEE8BB3045}" dt="2022-03-09T14:35:20.051" v="897" actId="1036"/>
          <ac:picMkLst>
            <pc:docMk/>
            <pc:sldMk cId="1404460967" sldId="2146846076"/>
            <ac:picMk id="10" creationId="{BDD97E9B-D5F7-4013-9EF2-6936A1DDF3E2}"/>
          </ac:picMkLst>
        </pc:picChg>
        <pc:picChg chg="mod">
          <ac:chgData name="Katerine Schifino" userId="37bb67de-9fcf-4611-888c-7e5b58184a2a" providerId="ADAL" clId="{492CA766-37C7-49E7-917E-99FEE8BB3045}" dt="2022-03-09T14:35:20.051" v="897" actId="1036"/>
          <ac:picMkLst>
            <pc:docMk/>
            <pc:sldMk cId="1404460967" sldId="2146846076"/>
            <ac:picMk id="12" creationId="{4E195C52-9FA5-4D6C-97D7-B043740A4DE5}"/>
          </ac:picMkLst>
        </pc:picChg>
        <pc:picChg chg="mod">
          <ac:chgData name="Katerine Schifino" userId="37bb67de-9fcf-4611-888c-7e5b58184a2a" providerId="ADAL" clId="{492CA766-37C7-49E7-917E-99FEE8BB3045}" dt="2022-03-09T14:35:20.051" v="897" actId="1036"/>
          <ac:picMkLst>
            <pc:docMk/>
            <pc:sldMk cId="1404460967" sldId="2146846076"/>
            <ac:picMk id="14" creationId="{68D871C3-5FE8-40F1-B8CB-9CDF1B98D108}"/>
          </ac:picMkLst>
        </pc:picChg>
        <pc:picChg chg="mod">
          <ac:chgData name="Katerine Schifino" userId="37bb67de-9fcf-4611-888c-7e5b58184a2a" providerId="ADAL" clId="{492CA766-37C7-49E7-917E-99FEE8BB3045}" dt="2022-03-09T14:35:20.051" v="897" actId="1036"/>
          <ac:picMkLst>
            <pc:docMk/>
            <pc:sldMk cId="1404460967" sldId="2146846076"/>
            <ac:picMk id="16" creationId="{8DBCA058-0EA8-49CC-BCF3-0EA9C0DBDACE}"/>
          </ac:picMkLst>
        </pc:picChg>
        <pc:picChg chg="mod">
          <ac:chgData name="Katerine Schifino" userId="37bb67de-9fcf-4611-888c-7e5b58184a2a" providerId="ADAL" clId="{492CA766-37C7-49E7-917E-99FEE8BB3045}" dt="2022-03-09T14:35:20.051" v="897" actId="1036"/>
          <ac:picMkLst>
            <pc:docMk/>
            <pc:sldMk cId="1404460967" sldId="2146846076"/>
            <ac:picMk id="18" creationId="{C3689C78-4414-4D62-954B-BE6D1BB4644D}"/>
          </ac:picMkLst>
        </pc:picChg>
        <pc:picChg chg="mod">
          <ac:chgData name="Katerine Schifino" userId="37bb67de-9fcf-4611-888c-7e5b58184a2a" providerId="ADAL" clId="{492CA766-37C7-49E7-917E-99FEE8BB3045}" dt="2022-03-09T14:35:15.997" v="881" actId="1076"/>
          <ac:picMkLst>
            <pc:docMk/>
            <pc:sldMk cId="1404460967" sldId="2146846076"/>
            <ac:picMk id="20" creationId="{C556D62C-2AC4-4726-B5EE-3E1D567FA982}"/>
          </ac:picMkLst>
        </pc:picChg>
      </pc:sldChg>
      <pc:sldChg chg="addSp delSp modSp mod">
        <pc:chgData name="Katerine Schifino" userId="37bb67de-9fcf-4611-888c-7e5b58184a2a" providerId="ADAL" clId="{492CA766-37C7-49E7-917E-99FEE8BB3045}" dt="2022-03-14T13:34:36.858" v="3952" actId="20577"/>
        <pc:sldMkLst>
          <pc:docMk/>
          <pc:sldMk cId="1683932540" sldId="2146846077"/>
        </pc:sldMkLst>
        <pc:spChg chg="del">
          <ac:chgData name="Katerine Schifino" userId="37bb67de-9fcf-4611-888c-7e5b58184a2a" providerId="ADAL" clId="{492CA766-37C7-49E7-917E-99FEE8BB3045}" dt="2022-03-09T14:30:53.657" v="821" actId="478"/>
          <ac:spMkLst>
            <pc:docMk/>
            <pc:sldMk cId="1683932540" sldId="2146846077"/>
            <ac:spMk id="3" creationId="{D27D7BD4-79A4-4F74-AEDD-B6DF3D38FA7F}"/>
          </ac:spMkLst>
        </pc:spChg>
        <pc:spChg chg="mod">
          <ac:chgData name="Katerine Schifino" userId="37bb67de-9fcf-4611-888c-7e5b58184a2a" providerId="ADAL" clId="{492CA766-37C7-49E7-917E-99FEE8BB3045}" dt="2022-03-14T13:34:36.858" v="3952" actId="20577"/>
          <ac:spMkLst>
            <pc:docMk/>
            <pc:sldMk cId="1683932540" sldId="2146846077"/>
            <ac:spMk id="5" creationId="{32B37483-28FB-4EC9-A968-6B7F946499B7}"/>
          </ac:spMkLst>
        </pc:spChg>
        <pc:spChg chg="del">
          <ac:chgData name="Katerine Schifino" userId="37bb67de-9fcf-4611-888c-7e5b58184a2a" providerId="ADAL" clId="{492CA766-37C7-49E7-917E-99FEE8BB3045}" dt="2022-03-11T17:23:39.419" v="3477" actId="478"/>
          <ac:spMkLst>
            <pc:docMk/>
            <pc:sldMk cId="1683932540" sldId="2146846077"/>
            <ac:spMk id="6" creationId="{BC432FFE-BFF2-481D-B777-8DA18A3B59B7}"/>
          </ac:spMkLst>
        </pc:spChg>
        <pc:spChg chg="del">
          <ac:chgData name="Katerine Schifino" userId="37bb67de-9fcf-4611-888c-7e5b58184a2a" providerId="ADAL" clId="{492CA766-37C7-49E7-917E-99FEE8BB3045}" dt="2022-03-11T17:23:40.847" v="3478" actId="478"/>
          <ac:spMkLst>
            <pc:docMk/>
            <pc:sldMk cId="1683932540" sldId="2146846077"/>
            <ac:spMk id="7" creationId="{01728192-2154-4A12-AC22-FE1F1FCD3B7B}"/>
          </ac:spMkLst>
        </pc:spChg>
        <pc:spChg chg="del">
          <ac:chgData name="Katerine Schifino" userId="37bb67de-9fcf-4611-888c-7e5b58184a2a" providerId="ADAL" clId="{492CA766-37C7-49E7-917E-99FEE8BB3045}" dt="2022-03-11T17:23:42.403" v="3479" actId="478"/>
          <ac:spMkLst>
            <pc:docMk/>
            <pc:sldMk cId="1683932540" sldId="2146846077"/>
            <ac:spMk id="8" creationId="{E9E050DD-49B2-485B-8526-53F8F73DA408}"/>
          </ac:spMkLst>
        </pc:spChg>
        <pc:spChg chg="add mod">
          <ac:chgData name="Katerine Schifino" userId="37bb67de-9fcf-4611-888c-7e5b58184a2a" providerId="ADAL" clId="{492CA766-37C7-49E7-917E-99FEE8BB3045}" dt="2022-03-09T14:30:54.257" v="822"/>
          <ac:spMkLst>
            <pc:docMk/>
            <pc:sldMk cId="1683932540" sldId="2146846077"/>
            <ac:spMk id="10" creationId="{4C9EE85E-0939-4C52-A70B-D95EF3824D7C}"/>
          </ac:spMkLst>
        </pc:spChg>
        <pc:spChg chg="add mod">
          <ac:chgData name="Katerine Schifino" userId="37bb67de-9fcf-4611-888c-7e5b58184a2a" providerId="ADAL" clId="{492CA766-37C7-49E7-917E-99FEE8BB3045}" dt="2022-03-11T17:28:35.752" v="3646" actId="164"/>
          <ac:spMkLst>
            <pc:docMk/>
            <pc:sldMk cId="1683932540" sldId="2146846077"/>
            <ac:spMk id="14" creationId="{4BD32EBC-4B00-4254-B678-1B1724130426}"/>
          </ac:spMkLst>
        </pc:spChg>
        <pc:spChg chg="add mod">
          <ac:chgData name="Katerine Schifino" userId="37bb67de-9fcf-4611-888c-7e5b58184a2a" providerId="ADAL" clId="{492CA766-37C7-49E7-917E-99FEE8BB3045}" dt="2022-03-11T17:28:35.752" v="3646" actId="164"/>
          <ac:spMkLst>
            <pc:docMk/>
            <pc:sldMk cId="1683932540" sldId="2146846077"/>
            <ac:spMk id="15" creationId="{390511F0-2BD4-4618-9135-C5432C87FECB}"/>
          </ac:spMkLst>
        </pc:spChg>
        <pc:spChg chg="add mod">
          <ac:chgData name="Katerine Schifino" userId="37bb67de-9fcf-4611-888c-7e5b58184a2a" providerId="ADAL" clId="{492CA766-37C7-49E7-917E-99FEE8BB3045}" dt="2022-03-11T17:28:35.752" v="3646" actId="164"/>
          <ac:spMkLst>
            <pc:docMk/>
            <pc:sldMk cId="1683932540" sldId="2146846077"/>
            <ac:spMk id="16" creationId="{844A9D1A-AAF5-4320-BEC9-0783ACF83039}"/>
          </ac:spMkLst>
        </pc:spChg>
        <pc:spChg chg="add mod">
          <ac:chgData name="Katerine Schifino" userId="37bb67de-9fcf-4611-888c-7e5b58184a2a" providerId="ADAL" clId="{492CA766-37C7-49E7-917E-99FEE8BB3045}" dt="2022-03-11T17:27:54.701" v="3642" actId="164"/>
          <ac:spMkLst>
            <pc:docMk/>
            <pc:sldMk cId="1683932540" sldId="2146846077"/>
            <ac:spMk id="17" creationId="{0926F541-DA73-4272-99AC-4F02AF70FA23}"/>
          </ac:spMkLst>
        </pc:spChg>
        <pc:spChg chg="add del mod">
          <ac:chgData name="Katerine Schifino" userId="37bb67de-9fcf-4611-888c-7e5b58184a2a" providerId="ADAL" clId="{492CA766-37C7-49E7-917E-99FEE8BB3045}" dt="2022-03-11T17:26:43.209" v="3540" actId="478"/>
          <ac:spMkLst>
            <pc:docMk/>
            <pc:sldMk cId="1683932540" sldId="2146846077"/>
            <ac:spMk id="18" creationId="{569F67DB-0970-46DE-9637-DA5952D5D7FE}"/>
          </ac:spMkLst>
        </pc:spChg>
        <pc:spChg chg="add mod">
          <ac:chgData name="Katerine Schifino" userId="37bb67de-9fcf-4611-888c-7e5b58184a2a" providerId="ADAL" clId="{492CA766-37C7-49E7-917E-99FEE8BB3045}" dt="2022-03-11T17:31:47.574" v="3701" actId="164"/>
          <ac:spMkLst>
            <pc:docMk/>
            <pc:sldMk cId="1683932540" sldId="2146846077"/>
            <ac:spMk id="25" creationId="{ADC0376C-2D70-47A0-8E24-5336AF5230C7}"/>
          </ac:spMkLst>
        </pc:spChg>
        <pc:spChg chg="add mod">
          <ac:chgData name="Katerine Schifino" userId="37bb67de-9fcf-4611-888c-7e5b58184a2a" providerId="ADAL" clId="{492CA766-37C7-49E7-917E-99FEE8BB3045}" dt="2022-03-11T17:31:47.574" v="3701" actId="164"/>
          <ac:spMkLst>
            <pc:docMk/>
            <pc:sldMk cId="1683932540" sldId="2146846077"/>
            <ac:spMk id="26" creationId="{F1F525B9-CC07-47B8-8D1F-55C022822BDD}"/>
          </ac:spMkLst>
        </pc:spChg>
        <pc:spChg chg="add mod">
          <ac:chgData name="Katerine Schifino" userId="37bb67de-9fcf-4611-888c-7e5b58184a2a" providerId="ADAL" clId="{492CA766-37C7-49E7-917E-99FEE8BB3045}" dt="2022-03-11T17:31:47.574" v="3701" actId="164"/>
          <ac:spMkLst>
            <pc:docMk/>
            <pc:sldMk cId="1683932540" sldId="2146846077"/>
            <ac:spMk id="27" creationId="{60AF15D8-4955-4036-9CA7-30CB6855C310}"/>
          </ac:spMkLst>
        </pc:spChg>
        <pc:grpChg chg="add del mod">
          <ac:chgData name="Katerine Schifino" userId="37bb67de-9fcf-4611-888c-7e5b58184a2a" providerId="ADAL" clId="{492CA766-37C7-49E7-917E-99FEE8BB3045}" dt="2022-03-11T17:30:20.566" v="3661" actId="478"/>
          <ac:grpSpMkLst>
            <pc:docMk/>
            <pc:sldMk cId="1683932540" sldId="2146846077"/>
            <ac:grpSpMk id="19" creationId="{B568E460-E36D-4DC5-87B5-2695A466D562}"/>
          </ac:grpSpMkLst>
        </pc:grpChg>
        <pc:grpChg chg="add mod">
          <ac:chgData name="Katerine Schifino" userId="37bb67de-9fcf-4611-888c-7e5b58184a2a" providerId="ADAL" clId="{492CA766-37C7-49E7-917E-99FEE8BB3045}" dt="2022-03-11T17:33:01.764" v="3762" actId="1076"/>
          <ac:grpSpMkLst>
            <pc:docMk/>
            <pc:sldMk cId="1683932540" sldId="2146846077"/>
            <ac:grpSpMk id="20" creationId="{6BD68E30-167A-4300-B2B3-6376AA19103B}"/>
          </ac:grpSpMkLst>
        </pc:grpChg>
        <pc:grpChg chg="add mod">
          <ac:chgData name="Katerine Schifino" userId="37bb67de-9fcf-4611-888c-7e5b58184a2a" providerId="ADAL" clId="{492CA766-37C7-49E7-917E-99FEE8BB3045}" dt="2022-03-11T17:32:52.683" v="3760" actId="1076"/>
          <ac:grpSpMkLst>
            <pc:docMk/>
            <pc:sldMk cId="1683932540" sldId="2146846077"/>
            <ac:grpSpMk id="28" creationId="{393A5184-280F-4BC5-94E2-C6EC8D79953F}"/>
          </ac:grpSpMkLst>
        </pc:grpChg>
        <pc:picChg chg="add mod modCrop">
          <ac:chgData name="Katerine Schifino" userId="37bb67de-9fcf-4611-888c-7e5b58184a2a" providerId="ADAL" clId="{492CA766-37C7-49E7-917E-99FEE8BB3045}" dt="2022-03-11T17:27:54.701" v="3642" actId="164"/>
          <ac:picMkLst>
            <pc:docMk/>
            <pc:sldMk cId="1683932540" sldId="2146846077"/>
            <ac:picMk id="3" creationId="{0404AF61-A72E-4B63-9580-4EBE9C28DB33}"/>
          </ac:picMkLst>
        </pc:picChg>
        <pc:picChg chg="add del mod">
          <ac:chgData name="Katerine Schifino" userId="37bb67de-9fcf-4611-888c-7e5b58184a2a" providerId="ADAL" clId="{492CA766-37C7-49E7-917E-99FEE8BB3045}" dt="2022-03-09T14:30:45.707" v="820" actId="478"/>
          <ac:picMkLst>
            <pc:docMk/>
            <pc:sldMk cId="1683932540" sldId="2146846077"/>
            <ac:picMk id="4" creationId="{D5B7B281-2D01-4B1C-B8C0-910E68354BDF}"/>
          </ac:picMkLst>
        </pc:picChg>
        <pc:picChg chg="del">
          <ac:chgData name="Katerine Schifino" userId="37bb67de-9fcf-4611-888c-7e5b58184a2a" providerId="ADAL" clId="{492CA766-37C7-49E7-917E-99FEE8BB3045}" dt="2022-03-11T17:23:36.985" v="3476" actId="478"/>
          <ac:picMkLst>
            <pc:docMk/>
            <pc:sldMk cId="1683932540" sldId="2146846077"/>
            <ac:picMk id="9" creationId="{31557504-39A4-4AF3-8021-311313937D70}"/>
          </ac:picMkLst>
        </pc:picChg>
        <pc:picChg chg="add del mod">
          <ac:chgData name="Katerine Schifino" userId="37bb67de-9fcf-4611-888c-7e5b58184a2a" providerId="ADAL" clId="{492CA766-37C7-49E7-917E-99FEE8BB3045}" dt="2022-03-11T17:26:19.510" v="3526" actId="478"/>
          <ac:picMkLst>
            <pc:docMk/>
            <pc:sldMk cId="1683932540" sldId="2146846077"/>
            <ac:picMk id="11" creationId="{AB468FDD-2693-4FCF-99DE-A5FB4E6394DB}"/>
          </ac:picMkLst>
        </pc:picChg>
        <pc:picChg chg="add mod modCrop">
          <ac:chgData name="Katerine Schifino" userId="37bb67de-9fcf-4611-888c-7e5b58184a2a" providerId="ADAL" clId="{492CA766-37C7-49E7-917E-99FEE8BB3045}" dt="2022-03-11T17:28:35.752" v="3646" actId="164"/>
          <ac:picMkLst>
            <pc:docMk/>
            <pc:sldMk cId="1683932540" sldId="2146846077"/>
            <ac:picMk id="13" creationId="{8084C98D-D7AA-484D-97A8-44BAE9BB9F5B}"/>
          </ac:picMkLst>
        </pc:picChg>
        <pc:picChg chg="add del mod modCrop">
          <ac:chgData name="Katerine Schifino" userId="37bb67de-9fcf-4611-888c-7e5b58184a2a" providerId="ADAL" clId="{492CA766-37C7-49E7-917E-99FEE8BB3045}" dt="2022-03-11T17:30:25.090" v="3663" actId="478"/>
          <ac:picMkLst>
            <pc:docMk/>
            <pc:sldMk cId="1683932540" sldId="2146846077"/>
            <ac:picMk id="22" creationId="{FAEFE1F6-4915-4388-BC91-03A521F5C1CA}"/>
          </ac:picMkLst>
        </pc:picChg>
        <pc:picChg chg="add mod modCrop">
          <ac:chgData name="Katerine Schifino" userId="37bb67de-9fcf-4611-888c-7e5b58184a2a" providerId="ADAL" clId="{492CA766-37C7-49E7-917E-99FEE8BB3045}" dt="2022-03-11T17:31:47.574" v="3701" actId="164"/>
          <ac:picMkLst>
            <pc:docMk/>
            <pc:sldMk cId="1683932540" sldId="2146846077"/>
            <ac:picMk id="24" creationId="{AE766E32-65E2-46D2-979D-26C1C15AE149}"/>
          </ac:picMkLst>
        </pc:picChg>
      </pc:sldChg>
      <pc:sldChg chg="del">
        <pc:chgData name="Katerine Schifino" userId="37bb67de-9fcf-4611-888c-7e5b58184a2a" providerId="ADAL" clId="{492CA766-37C7-49E7-917E-99FEE8BB3045}" dt="2022-03-09T15:51:26.817" v="1940" actId="47"/>
        <pc:sldMkLst>
          <pc:docMk/>
          <pc:sldMk cId="3926793904" sldId="2146846078"/>
        </pc:sldMkLst>
      </pc:sldChg>
      <pc:sldChg chg="modSp mod">
        <pc:chgData name="Katerine Schifino" userId="37bb67de-9fcf-4611-888c-7e5b58184a2a" providerId="ADAL" clId="{492CA766-37C7-49E7-917E-99FEE8BB3045}" dt="2022-03-09T16:48:01.981" v="2826" actId="1076"/>
        <pc:sldMkLst>
          <pc:docMk/>
          <pc:sldMk cId="2001048157" sldId="2146846079"/>
        </pc:sldMkLst>
        <pc:spChg chg="mod">
          <ac:chgData name="Katerine Schifino" userId="37bb67de-9fcf-4611-888c-7e5b58184a2a" providerId="ADAL" clId="{492CA766-37C7-49E7-917E-99FEE8BB3045}" dt="2022-03-09T13:57:23.225" v="555" actId="20577"/>
          <ac:spMkLst>
            <pc:docMk/>
            <pc:sldMk cId="2001048157" sldId="2146846079"/>
            <ac:spMk id="3" creationId="{D27D7BD4-79A4-4F74-AEDD-B6DF3D38FA7F}"/>
          </ac:spMkLst>
        </pc:spChg>
        <pc:spChg chg="mod">
          <ac:chgData name="Katerine Schifino" userId="37bb67de-9fcf-4611-888c-7e5b58184a2a" providerId="ADAL" clId="{492CA766-37C7-49E7-917E-99FEE8BB3045}" dt="2022-03-09T13:58:48.525" v="568" actId="20577"/>
          <ac:spMkLst>
            <pc:docMk/>
            <pc:sldMk cId="2001048157" sldId="2146846079"/>
            <ac:spMk id="16" creationId="{75AE98B8-EFCD-45F3-ABF1-808DD8FA2D94}"/>
          </ac:spMkLst>
        </pc:spChg>
        <pc:spChg chg="mod">
          <ac:chgData name="Katerine Schifino" userId="37bb67de-9fcf-4611-888c-7e5b58184a2a" providerId="ADAL" clId="{492CA766-37C7-49E7-917E-99FEE8BB3045}" dt="2022-03-09T13:58:44.156" v="565" actId="20577"/>
          <ac:spMkLst>
            <pc:docMk/>
            <pc:sldMk cId="2001048157" sldId="2146846079"/>
            <ac:spMk id="19" creationId="{061D4670-FB5D-4DD7-B1F5-4688263174E9}"/>
          </ac:spMkLst>
        </pc:spChg>
        <pc:spChg chg="mod">
          <ac:chgData name="Katerine Schifino" userId="37bb67de-9fcf-4611-888c-7e5b58184a2a" providerId="ADAL" clId="{492CA766-37C7-49E7-917E-99FEE8BB3045}" dt="2022-03-09T13:57:46.655" v="557"/>
          <ac:spMkLst>
            <pc:docMk/>
            <pc:sldMk cId="2001048157" sldId="2146846079"/>
            <ac:spMk id="22" creationId="{CBEC229F-1C20-4AA7-A2AE-C210AF86D9A8}"/>
          </ac:spMkLst>
        </pc:spChg>
        <pc:spChg chg="mod">
          <ac:chgData name="Katerine Schifino" userId="37bb67de-9fcf-4611-888c-7e5b58184a2a" providerId="ADAL" clId="{492CA766-37C7-49E7-917E-99FEE8BB3045}" dt="2022-03-09T13:57:34.625" v="556"/>
          <ac:spMkLst>
            <pc:docMk/>
            <pc:sldMk cId="2001048157" sldId="2146846079"/>
            <ac:spMk id="54" creationId="{CA33CA92-6C9A-4BBF-A9CA-3EB3057DD5D4}"/>
          </ac:spMkLst>
        </pc:spChg>
        <pc:spChg chg="mod">
          <ac:chgData name="Katerine Schifino" userId="37bb67de-9fcf-4611-888c-7e5b58184a2a" providerId="ADAL" clId="{492CA766-37C7-49E7-917E-99FEE8BB3045}" dt="2022-03-09T14:00:24.695" v="624" actId="20577"/>
          <ac:spMkLst>
            <pc:docMk/>
            <pc:sldMk cId="2001048157" sldId="2146846079"/>
            <ac:spMk id="59" creationId="{F076B0F3-4333-4F73-9289-34FD64006B6C}"/>
          </ac:spMkLst>
        </pc:spChg>
        <pc:spChg chg="mod">
          <ac:chgData name="Katerine Schifino" userId="37bb67de-9fcf-4611-888c-7e5b58184a2a" providerId="ADAL" clId="{492CA766-37C7-49E7-917E-99FEE8BB3045}" dt="2022-03-09T14:00:07.236" v="620" actId="20577"/>
          <ac:spMkLst>
            <pc:docMk/>
            <pc:sldMk cId="2001048157" sldId="2146846079"/>
            <ac:spMk id="61" creationId="{A9D7DBDB-1285-4416-9622-48904AB14579}"/>
          </ac:spMkLst>
        </pc:spChg>
        <pc:spChg chg="mod">
          <ac:chgData name="Katerine Schifino" userId="37bb67de-9fcf-4611-888c-7e5b58184a2a" providerId="ADAL" clId="{492CA766-37C7-49E7-917E-99FEE8BB3045}" dt="2022-03-09T13:59:43.511" v="614" actId="20577"/>
          <ac:spMkLst>
            <pc:docMk/>
            <pc:sldMk cId="2001048157" sldId="2146846079"/>
            <ac:spMk id="63" creationId="{969DDDCA-411B-4DDB-A5C3-3BFCC0BEB0A1}"/>
          </ac:spMkLst>
        </pc:spChg>
        <pc:spChg chg="mod">
          <ac:chgData name="Katerine Schifino" userId="37bb67de-9fcf-4611-888c-7e5b58184a2a" providerId="ADAL" clId="{492CA766-37C7-49E7-917E-99FEE8BB3045}" dt="2022-03-09T16:48:01.981" v="2826" actId="1076"/>
          <ac:spMkLst>
            <pc:docMk/>
            <pc:sldMk cId="2001048157" sldId="2146846079"/>
            <ac:spMk id="65" creationId="{FBE8F78A-154B-442A-B934-A3EA48410C87}"/>
          </ac:spMkLst>
        </pc:spChg>
      </pc:sldChg>
      <pc:sldChg chg="addSp delSp modSp del mod">
        <pc:chgData name="Katerine Schifino" userId="37bb67de-9fcf-4611-888c-7e5b58184a2a" providerId="ADAL" clId="{492CA766-37C7-49E7-917E-99FEE8BB3045}" dt="2022-03-09T17:43:04.336" v="2895" actId="47"/>
        <pc:sldMkLst>
          <pc:docMk/>
          <pc:sldMk cId="2969475038" sldId="2146846081"/>
        </pc:sldMkLst>
        <pc:spChg chg="del">
          <ac:chgData name="Katerine Schifino" userId="37bb67de-9fcf-4611-888c-7e5b58184a2a" providerId="ADAL" clId="{492CA766-37C7-49E7-917E-99FEE8BB3045}" dt="2022-03-09T13:48:11.880" v="430" actId="478"/>
          <ac:spMkLst>
            <pc:docMk/>
            <pc:sldMk cId="2969475038" sldId="2146846081"/>
            <ac:spMk id="3" creationId="{D27D7BD4-79A4-4F74-AEDD-B6DF3D38FA7F}"/>
          </ac:spMkLst>
        </pc:spChg>
        <pc:spChg chg="mod">
          <ac:chgData name="Katerine Schifino" userId="37bb67de-9fcf-4611-888c-7e5b58184a2a" providerId="ADAL" clId="{492CA766-37C7-49E7-917E-99FEE8BB3045}" dt="2022-03-09T15:17:27.522" v="1632" actId="14100"/>
          <ac:spMkLst>
            <pc:docMk/>
            <pc:sldMk cId="2969475038" sldId="2146846081"/>
            <ac:spMk id="6" creationId="{3AB26AD5-1E43-44D0-A679-44D49EF8AA49}"/>
          </ac:spMkLst>
        </pc:spChg>
        <pc:spChg chg="mod">
          <ac:chgData name="Katerine Schifino" userId="37bb67de-9fcf-4611-888c-7e5b58184a2a" providerId="ADAL" clId="{492CA766-37C7-49E7-917E-99FEE8BB3045}" dt="2022-03-09T15:16:59.092" v="1629" actId="1076"/>
          <ac:spMkLst>
            <pc:docMk/>
            <pc:sldMk cId="2969475038" sldId="2146846081"/>
            <ac:spMk id="8" creationId="{1D7C792A-CC12-479D-8BB8-7678A646EA6C}"/>
          </ac:spMkLst>
        </pc:spChg>
        <pc:spChg chg="mod">
          <ac:chgData name="Katerine Schifino" userId="37bb67de-9fcf-4611-888c-7e5b58184a2a" providerId="ADAL" clId="{492CA766-37C7-49E7-917E-99FEE8BB3045}" dt="2022-03-09T15:16:59.092" v="1629" actId="1076"/>
          <ac:spMkLst>
            <pc:docMk/>
            <pc:sldMk cId="2969475038" sldId="2146846081"/>
            <ac:spMk id="11" creationId="{3851A96E-5BEA-49F6-AE48-7397556F5891}"/>
          </ac:spMkLst>
        </pc:spChg>
        <pc:spChg chg="del mod">
          <ac:chgData name="Katerine Schifino" userId="37bb67de-9fcf-4611-888c-7e5b58184a2a" providerId="ADAL" clId="{492CA766-37C7-49E7-917E-99FEE8BB3045}" dt="2022-03-09T14:56:54.326" v="1146" actId="478"/>
          <ac:spMkLst>
            <pc:docMk/>
            <pc:sldMk cId="2969475038" sldId="2146846081"/>
            <ac:spMk id="13" creationId="{2C6C05C7-5EE8-42E2-9973-FC5C6DD24E02}"/>
          </ac:spMkLst>
        </pc:spChg>
        <pc:spChg chg="mod">
          <ac:chgData name="Katerine Schifino" userId="37bb67de-9fcf-4611-888c-7e5b58184a2a" providerId="ADAL" clId="{492CA766-37C7-49E7-917E-99FEE8BB3045}" dt="2022-03-09T15:16:59.092" v="1629" actId="1076"/>
          <ac:spMkLst>
            <pc:docMk/>
            <pc:sldMk cId="2969475038" sldId="2146846081"/>
            <ac:spMk id="15" creationId="{691A9BEF-640C-469B-8749-56C2FEB65340}"/>
          </ac:spMkLst>
        </pc:spChg>
        <pc:spChg chg="mod">
          <ac:chgData name="Katerine Schifino" userId="37bb67de-9fcf-4611-888c-7e5b58184a2a" providerId="ADAL" clId="{492CA766-37C7-49E7-917E-99FEE8BB3045}" dt="2022-03-09T15:16:59.092" v="1629" actId="1076"/>
          <ac:spMkLst>
            <pc:docMk/>
            <pc:sldMk cId="2969475038" sldId="2146846081"/>
            <ac:spMk id="16" creationId="{5C1E48BA-319A-46FE-AD4D-EE9089AE53C8}"/>
          </ac:spMkLst>
        </pc:spChg>
        <pc:spChg chg="mod">
          <ac:chgData name="Katerine Schifino" userId="37bb67de-9fcf-4611-888c-7e5b58184a2a" providerId="ADAL" clId="{492CA766-37C7-49E7-917E-99FEE8BB3045}" dt="2022-03-09T15:16:59.092" v="1629" actId="1076"/>
          <ac:spMkLst>
            <pc:docMk/>
            <pc:sldMk cId="2969475038" sldId="2146846081"/>
            <ac:spMk id="17" creationId="{FF77C336-C7D1-4485-8108-03064933CD75}"/>
          </ac:spMkLst>
        </pc:spChg>
        <pc:spChg chg="mod">
          <ac:chgData name="Katerine Schifino" userId="37bb67de-9fcf-4611-888c-7e5b58184a2a" providerId="ADAL" clId="{492CA766-37C7-49E7-917E-99FEE8BB3045}" dt="2022-03-09T15:16:59.092" v="1629" actId="1076"/>
          <ac:spMkLst>
            <pc:docMk/>
            <pc:sldMk cId="2969475038" sldId="2146846081"/>
            <ac:spMk id="18" creationId="{624147BD-B1E0-4DB3-93A0-BC1D277441F2}"/>
          </ac:spMkLst>
        </pc:spChg>
        <pc:spChg chg="del mod">
          <ac:chgData name="Katerine Schifino" userId="37bb67de-9fcf-4611-888c-7e5b58184a2a" providerId="ADAL" clId="{492CA766-37C7-49E7-917E-99FEE8BB3045}" dt="2022-03-09T14:56:34.416" v="1142" actId="478"/>
          <ac:spMkLst>
            <pc:docMk/>
            <pc:sldMk cId="2969475038" sldId="2146846081"/>
            <ac:spMk id="19" creationId="{3883DB4B-29D0-45E8-B590-95D75609FCB9}"/>
          </ac:spMkLst>
        </pc:spChg>
        <pc:spChg chg="mod">
          <ac:chgData name="Katerine Schifino" userId="37bb67de-9fcf-4611-888c-7e5b58184a2a" providerId="ADAL" clId="{492CA766-37C7-49E7-917E-99FEE8BB3045}" dt="2022-03-09T15:16:59.092" v="1629" actId="1076"/>
          <ac:spMkLst>
            <pc:docMk/>
            <pc:sldMk cId="2969475038" sldId="2146846081"/>
            <ac:spMk id="20" creationId="{2D2C9E22-4796-41C6-81A9-E3D0FD229542}"/>
          </ac:spMkLst>
        </pc:spChg>
        <pc:spChg chg="add mod">
          <ac:chgData name="Katerine Schifino" userId="37bb67de-9fcf-4611-888c-7e5b58184a2a" providerId="ADAL" clId="{492CA766-37C7-49E7-917E-99FEE8BB3045}" dt="2022-03-09T13:49:16.540" v="474" actId="20577"/>
          <ac:spMkLst>
            <pc:docMk/>
            <pc:sldMk cId="2969475038" sldId="2146846081"/>
            <ac:spMk id="23" creationId="{F2ADE4F1-704B-4AE3-A73C-5AA1E98DF2BF}"/>
          </ac:spMkLst>
        </pc:spChg>
        <pc:spChg chg="add mod">
          <ac:chgData name="Katerine Schifino" userId="37bb67de-9fcf-4611-888c-7e5b58184a2a" providerId="ADAL" clId="{492CA766-37C7-49E7-917E-99FEE8BB3045}" dt="2022-03-09T14:57:10.849" v="1150" actId="14100"/>
          <ac:spMkLst>
            <pc:docMk/>
            <pc:sldMk cId="2969475038" sldId="2146846081"/>
            <ac:spMk id="25" creationId="{D10F3AF7-FB07-4A11-AB25-ED6D04867093}"/>
          </ac:spMkLst>
        </pc:spChg>
        <pc:spChg chg="add mod">
          <ac:chgData name="Katerine Schifino" userId="37bb67de-9fcf-4611-888c-7e5b58184a2a" providerId="ADAL" clId="{492CA766-37C7-49E7-917E-99FEE8BB3045}" dt="2022-03-09T15:16:59.092" v="1629" actId="1076"/>
          <ac:spMkLst>
            <pc:docMk/>
            <pc:sldMk cId="2969475038" sldId="2146846081"/>
            <ac:spMk id="40" creationId="{BB488A38-8730-4291-8B98-A3DD4C97632E}"/>
          </ac:spMkLst>
        </pc:spChg>
        <pc:spChg chg="mod">
          <ac:chgData name="Katerine Schifino" userId="37bb67de-9fcf-4611-888c-7e5b58184a2a" providerId="ADAL" clId="{492CA766-37C7-49E7-917E-99FEE8BB3045}" dt="2022-03-09T15:24:05.922" v="1633" actId="14100"/>
          <ac:spMkLst>
            <pc:docMk/>
            <pc:sldMk cId="2969475038" sldId="2146846081"/>
            <ac:spMk id="42" creationId="{19380C9B-01AE-4F68-9C5E-929D539D9599}"/>
          </ac:spMkLst>
        </pc:spChg>
        <pc:spChg chg="add del mod">
          <ac:chgData name="Katerine Schifino" userId="37bb67de-9fcf-4611-888c-7e5b58184a2a" providerId="ADAL" clId="{492CA766-37C7-49E7-917E-99FEE8BB3045}" dt="2022-03-09T15:15:39.243" v="1602" actId="478"/>
          <ac:spMkLst>
            <pc:docMk/>
            <pc:sldMk cId="2969475038" sldId="2146846081"/>
            <ac:spMk id="46" creationId="{F6C98B98-64C6-42AE-B58C-F744869D8A6F}"/>
          </ac:spMkLst>
        </pc:spChg>
        <pc:spChg chg="add del">
          <ac:chgData name="Katerine Schifino" userId="37bb67de-9fcf-4611-888c-7e5b58184a2a" providerId="ADAL" clId="{492CA766-37C7-49E7-917E-99FEE8BB3045}" dt="2022-03-09T15:15:53.421" v="1604" actId="22"/>
          <ac:spMkLst>
            <pc:docMk/>
            <pc:sldMk cId="2969475038" sldId="2146846081"/>
            <ac:spMk id="47" creationId="{848007EC-F96C-43F4-8A7A-930A581737C2}"/>
          </ac:spMkLst>
        </pc:spChg>
        <pc:spChg chg="add mod">
          <ac:chgData name="Katerine Schifino" userId="37bb67de-9fcf-4611-888c-7e5b58184a2a" providerId="ADAL" clId="{492CA766-37C7-49E7-917E-99FEE8BB3045}" dt="2022-03-09T15:17:01.871" v="1630" actId="14100"/>
          <ac:spMkLst>
            <pc:docMk/>
            <pc:sldMk cId="2969475038" sldId="2146846081"/>
            <ac:spMk id="48" creationId="{8D585562-C461-46DC-8951-D37959777502}"/>
          </ac:spMkLst>
        </pc:spChg>
        <pc:spChg chg="mod">
          <ac:chgData name="Katerine Schifino" userId="37bb67de-9fcf-4611-888c-7e5b58184a2a" providerId="ADAL" clId="{492CA766-37C7-49E7-917E-99FEE8BB3045}" dt="2022-03-09T17:37:39.886" v="2832"/>
          <ac:spMkLst>
            <pc:docMk/>
            <pc:sldMk cId="2969475038" sldId="2146846081"/>
            <ac:spMk id="50" creationId="{B8281D74-70C2-440F-8DA8-BC831A43DB9B}"/>
          </ac:spMkLst>
        </pc:spChg>
        <pc:spChg chg="mod">
          <ac:chgData name="Katerine Schifino" userId="37bb67de-9fcf-4611-888c-7e5b58184a2a" providerId="ADAL" clId="{492CA766-37C7-49E7-917E-99FEE8BB3045}" dt="2022-03-09T17:37:39.886" v="2832"/>
          <ac:spMkLst>
            <pc:docMk/>
            <pc:sldMk cId="2969475038" sldId="2146846081"/>
            <ac:spMk id="51" creationId="{7B6CB61C-89AF-47FC-97F7-C868A88EBCCE}"/>
          </ac:spMkLst>
        </pc:spChg>
        <pc:spChg chg="mod">
          <ac:chgData name="Katerine Schifino" userId="37bb67de-9fcf-4611-888c-7e5b58184a2a" providerId="ADAL" clId="{492CA766-37C7-49E7-917E-99FEE8BB3045}" dt="2022-03-09T17:37:39.886" v="2832"/>
          <ac:spMkLst>
            <pc:docMk/>
            <pc:sldMk cId="2969475038" sldId="2146846081"/>
            <ac:spMk id="52" creationId="{E4DCC4C1-460C-44DF-A5A9-03450A62099B}"/>
          </ac:spMkLst>
        </pc:spChg>
        <pc:spChg chg="mod">
          <ac:chgData name="Katerine Schifino" userId="37bb67de-9fcf-4611-888c-7e5b58184a2a" providerId="ADAL" clId="{492CA766-37C7-49E7-917E-99FEE8BB3045}" dt="2022-03-09T17:37:39.886" v="2832"/>
          <ac:spMkLst>
            <pc:docMk/>
            <pc:sldMk cId="2969475038" sldId="2146846081"/>
            <ac:spMk id="53" creationId="{F341D6D9-C484-4FB1-8544-CE238FD54DF3}"/>
          </ac:spMkLst>
        </pc:spChg>
        <pc:spChg chg="mod">
          <ac:chgData name="Katerine Schifino" userId="37bb67de-9fcf-4611-888c-7e5b58184a2a" providerId="ADAL" clId="{492CA766-37C7-49E7-917E-99FEE8BB3045}" dt="2022-03-09T17:37:39.886" v="2832"/>
          <ac:spMkLst>
            <pc:docMk/>
            <pc:sldMk cId="2969475038" sldId="2146846081"/>
            <ac:spMk id="54" creationId="{6B93FF64-B001-4037-9ABE-042BF575205A}"/>
          </ac:spMkLst>
        </pc:spChg>
        <pc:spChg chg="mod">
          <ac:chgData name="Katerine Schifino" userId="37bb67de-9fcf-4611-888c-7e5b58184a2a" providerId="ADAL" clId="{492CA766-37C7-49E7-917E-99FEE8BB3045}" dt="2022-03-09T17:37:39.886" v="2832"/>
          <ac:spMkLst>
            <pc:docMk/>
            <pc:sldMk cId="2969475038" sldId="2146846081"/>
            <ac:spMk id="55" creationId="{ACE49B91-D99B-4DE3-9FA4-BA329D18FE31}"/>
          </ac:spMkLst>
        </pc:spChg>
        <pc:grpChg chg="add mod">
          <ac:chgData name="Katerine Schifino" userId="37bb67de-9fcf-4611-888c-7e5b58184a2a" providerId="ADAL" clId="{492CA766-37C7-49E7-917E-99FEE8BB3045}" dt="2022-03-09T15:16:59.092" v="1629" actId="1076"/>
          <ac:grpSpMkLst>
            <pc:docMk/>
            <pc:sldMk cId="2969475038" sldId="2146846081"/>
            <ac:grpSpMk id="33" creationId="{69F6D422-536D-4A70-AD74-209484933C9B}"/>
          </ac:grpSpMkLst>
        </pc:grpChg>
        <pc:grpChg chg="add mod">
          <ac:chgData name="Katerine Schifino" userId="37bb67de-9fcf-4611-888c-7e5b58184a2a" providerId="ADAL" clId="{492CA766-37C7-49E7-917E-99FEE8BB3045}" dt="2022-03-09T15:16:59.092" v="1629" actId="1076"/>
          <ac:grpSpMkLst>
            <pc:docMk/>
            <pc:sldMk cId="2969475038" sldId="2146846081"/>
            <ac:grpSpMk id="35" creationId="{2450AB95-9CC3-42DF-8DB8-B20E2C47791B}"/>
          </ac:grpSpMkLst>
        </pc:grpChg>
        <pc:grpChg chg="mod">
          <ac:chgData name="Katerine Schifino" userId="37bb67de-9fcf-4611-888c-7e5b58184a2a" providerId="ADAL" clId="{492CA766-37C7-49E7-917E-99FEE8BB3045}" dt="2022-03-09T15:16:59.092" v="1629" actId="1076"/>
          <ac:grpSpMkLst>
            <pc:docMk/>
            <pc:sldMk cId="2969475038" sldId="2146846081"/>
            <ac:grpSpMk id="41" creationId="{2A5EA2E2-75B7-471C-A88D-716B79676EA2}"/>
          </ac:grpSpMkLst>
        </pc:grpChg>
        <pc:grpChg chg="mod">
          <ac:chgData name="Katerine Schifino" userId="37bb67de-9fcf-4611-888c-7e5b58184a2a" providerId="ADAL" clId="{492CA766-37C7-49E7-917E-99FEE8BB3045}" dt="2022-03-09T15:16:59.092" v="1629" actId="1076"/>
          <ac:grpSpMkLst>
            <pc:docMk/>
            <pc:sldMk cId="2969475038" sldId="2146846081"/>
            <ac:grpSpMk id="45" creationId="{DD6B3569-7EE4-441B-B5B3-5E06AE9395FE}"/>
          </ac:grpSpMkLst>
        </pc:grpChg>
        <pc:grpChg chg="add del mod">
          <ac:chgData name="Katerine Schifino" userId="37bb67de-9fcf-4611-888c-7e5b58184a2a" providerId="ADAL" clId="{492CA766-37C7-49E7-917E-99FEE8BB3045}" dt="2022-03-09T17:37:44.086" v="2834" actId="478"/>
          <ac:grpSpMkLst>
            <pc:docMk/>
            <pc:sldMk cId="2969475038" sldId="2146846081"/>
            <ac:grpSpMk id="49" creationId="{D5DEE41B-B348-4288-BB23-0EFD2CE517AA}"/>
          </ac:grpSpMkLst>
        </pc:grpChg>
        <pc:picChg chg="add mod">
          <ac:chgData name="Katerine Schifino" userId="37bb67de-9fcf-4611-888c-7e5b58184a2a" providerId="ADAL" clId="{492CA766-37C7-49E7-917E-99FEE8BB3045}" dt="2022-03-09T15:16:59.092" v="1629" actId="1076"/>
          <ac:picMkLst>
            <pc:docMk/>
            <pc:sldMk cId="2969475038" sldId="2146846081"/>
            <ac:picMk id="27" creationId="{82004687-F9E8-46A0-93AB-1F6B282455DE}"/>
          </ac:picMkLst>
        </pc:picChg>
        <pc:picChg chg="add del mod">
          <ac:chgData name="Katerine Schifino" userId="37bb67de-9fcf-4611-888c-7e5b58184a2a" providerId="ADAL" clId="{492CA766-37C7-49E7-917E-99FEE8BB3045}" dt="2022-03-09T14:57:16.586" v="1152" actId="478"/>
          <ac:picMkLst>
            <pc:docMk/>
            <pc:sldMk cId="2969475038" sldId="2146846081"/>
            <ac:picMk id="28" creationId="{C6F05329-54F3-41F7-AD6A-04116E61EEA5}"/>
          </ac:picMkLst>
        </pc:picChg>
        <pc:picChg chg="add mod">
          <ac:chgData name="Katerine Schifino" userId="37bb67de-9fcf-4611-888c-7e5b58184a2a" providerId="ADAL" clId="{492CA766-37C7-49E7-917E-99FEE8BB3045}" dt="2022-03-09T15:16:59.092" v="1629" actId="1076"/>
          <ac:picMkLst>
            <pc:docMk/>
            <pc:sldMk cId="2969475038" sldId="2146846081"/>
            <ac:picMk id="2050" creationId="{4B4B20DA-CFC1-4B05-9CE7-8473FAEC8D91}"/>
          </ac:picMkLst>
        </pc:picChg>
        <pc:cxnChg chg="mod">
          <ac:chgData name="Katerine Schifino" userId="37bb67de-9fcf-4611-888c-7e5b58184a2a" providerId="ADAL" clId="{492CA766-37C7-49E7-917E-99FEE8BB3045}" dt="2022-03-09T15:16:59.092" v="1629" actId="1076"/>
          <ac:cxnSpMkLst>
            <pc:docMk/>
            <pc:sldMk cId="2969475038" sldId="2146846081"/>
            <ac:cxnSpMk id="22" creationId="{A4B1105F-EB80-47DC-9E10-7E951DF1CA8F}"/>
          </ac:cxnSpMkLst>
        </pc:cxnChg>
        <pc:cxnChg chg="mod">
          <ac:chgData name="Katerine Schifino" userId="37bb67de-9fcf-4611-888c-7e5b58184a2a" providerId="ADAL" clId="{492CA766-37C7-49E7-917E-99FEE8BB3045}" dt="2022-03-09T15:16:59.092" v="1629" actId="1076"/>
          <ac:cxnSpMkLst>
            <pc:docMk/>
            <pc:sldMk cId="2969475038" sldId="2146846081"/>
            <ac:cxnSpMk id="24" creationId="{D4D6551A-11D7-48DA-8579-96516871FAA8}"/>
          </ac:cxnSpMkLst>
        </pc:cxnChg>
        <pc:cxnChg chg="mod">
          <ac:chgData name="Katerine Schifino" userId="37bb67de-9fcf-4611-888c-7e5b58184a2a" providerId="ADAL" clId="{492CA766-37C7-49E7-917E-99FEE8BB3045}" dt="2022-03-09T15:16:59.092" v="1629" actId="1076"/>
          <ac:cxnSpMkLst>
            <pc:docMk/>
            <pc:sldMk cId="2969475038" sldId="2146846081"/>
            <ac:cxnSpMk id="26" creationId="{25485FDE-63EE-4C61-B512-648078940060}"/>
          </ac:cxnSpMkLst>
        </pc:cxnChg>
        <pc:cxnChg chg="mod">
          <ac:chgData name="Katerine Schifino" userId="37bb67de-9fcf-4611-888c-7e5b58184a2a" providerId="ADAL" clId="{492CA766-37C7-49E7-917E-99FEE8BB3045}" dt="2022-03-09T15:16:59.092" v="1629" actId="1076"/>
          <ac:cxnSpMkLst>
            <pc:docMk/>
            <pc:sldMk cId="2969475038" sldId="2146846081"/>
            <ac:cxnSpMk id="29" creationId="{FE99AAB1-A30D-42D5-95C3-37DF300A0733}"/>
          </ac:cxnSpMkLst>
        </pc:cxnChg>
        <pc:cxnChg chg="mod">
          <ac:chgData name="Katerine Schifino" userId="37bb67de-9fcf-4611-888c-7e5b58184a2a" providerId="ADAL" clId="{492CA766-37C7-49E7-917E-99FEE8BB3045}" dt="2022-03-09T15:16:59.092" v="1629" actId="1076"/>
          <ac:cxnSpMkLst>
            <pc:docMk/>
            <pc:sldMk cId="2969475038" sldId="2146846081"/>
            <ac:cxnSpMk id="34" creationId="{324139A5-BAEC-4729-8353-4D68B5552021}"/>
          </ac:cxnSpMkLst>
        </pc:cxnChg>
        <pc:cxnChg chg="mod">
          <ac:chgData name="Katerine Schifino" userId="37bb67de-9fcf-4611-888c-7e5b58184a2a" providerId="ADAL" clId="{492CA766-37C7-49E7-917E-99FEE8BB3045}" dt="2022-03-09T15:16:59.092" v="1629" actId="1076"/>
          <ac:cxnSpMkLst>
            <pc:docMk/>
            <pc:sldMk cId="2969475038" sldId="2146846081"/>
            <ac:cxnSpMk id="36" creationId="{3113F515-4AF6-49AF-9B19-0FD47AFD3ABC}"/>
          </ac:cxnSpMkLst>
        </pc:cxnChg>
        <pc:cxnChg chg="del">
          <ac:chgData name="Katerine Schifino" userId="37bb67de-9fcf-4611-888c-7e5b58184a2a" providerId="ADAL" clId="{492CA766-37C7-49E7-917E-99FEE8BB3045}" dt="2022-03-09T14:56:51.996" v="1145" actId="478"/>
          <ac:cxnSpMkLst>
            <pc:docMk/>
            <pc:sldMk cId="2969475038" sldId="2146846081"/>
            <ac:cxnSpMk id="44" creationId="{125A0611-0E42-4733-A100-1A069CAD8BBC}"/>
          </ac:cxnSpMkLst>
        </pc:cxnChg>
      </pc:sldChg>
      <pc:sldChg chg="add del">
        <pc:chgData name="Katerine Schifino" userId="37bb67de-9fcf-4611-888c-7e5b58184a2a" providerId="ADAL" clId="{492CA766-37C7-49E7-917E-99FEE8BB3045}" dt="2022-03-09T14:40:56.737" v="932" actId="47"/>
        <pc:sldMkLst>
          <pc:docMk/>
          <pc:sldMk cId="2761840669" sldId="2146846082"/>
        </pc:sldMkLst>
      </pc:sldChg>
      <pc:sldChg chg="addSp delSp modSp mod">
        <pc:chgData name="Katerine Schifino" userId="37bb67de-9fcf-4611-888c-7e5b58184a2a" providerId="ADAL" clId="{492CA766-37C7-49E7-917E-99FEE8BB3045}" dt="2022-03-09T13:47:34.575" v="427" actId="1076"/>
        <pc:sldMkLst>
          <pc:docMk/>
          <pc:sldMk cId="4029788326" sldId="2146846083"/>
        </pc:sldMkLst>
        <pc:spChg chg="del">
          <ac:chgData name="Katerine Schifino" userId="37bb67de-9fcf-4611-888c-7e5b58184a2a" providerId="ADAL" clId="{492CA766-37C7-49E7-917E-99FEE8BB3045}" dt="2022-03-09T13:24:01.339" v="117" actId="478"/>
          <ac:spMkLst>
            <pc:docMk/>
            <pc:sldMk cId="4029788326" sldId="2146846083"/>
            <ac:spMk id="3" creationId="{D27D7BD4-79A4-4F74-AEDD-B6DF3D38FA7F}"/>
          </ac:spMkLst>
        </pc:spChg>
        <pc:spChg chg="add mod">
          <ac:chgData name="Katerine Schifino" userId="37bb67de-9fcf-4611-888c-7e5b58184a2a" providerId="ADAL" clId="{492CA766-37C7-49E7-917E-99FEE8BB3045}" dt="2022-03-09T13:24:13.446" v="118"/>
          <ac:spMkLst>
            <pc:docMk/>
            <pc:sldMk cId="4029788326" sldId="2146846083"/>
            <ac:spMk id="6" creationId="{804959DD-253D-4D50-B3BE-E1A8C5D45973}"/>
          </ac:spMkLst>
        </pc:spChg>
        <pc:spChg chg="mod">
          <ac:chgData name="Katerine Schifino" userId="37bb67de-9fcf-4611-888c-7e5b58184a2a" providerId="ADAL" clId="{492CA766-37C7-49E7-917E-99FEE8BB3045}" dt="2022-03-09T13:29:46.666" v="217" actId="1076"/>
          <ac:spMkLst>
            <pc:docMk/>
            <pc:sldMk cId="4029788326" sldId="2146846083"/>
            <ac:spMk id="8" creationId="{D1947B6B-EFAD-42C4-85AB-0C7271687C2F}"/>
          </ac:spMkLst>
        </pc:spChg>
        <pc:spChg chg="mod">
          <ac:chgData name="Katerine Schifino" userId="37bb67de-9fcf-4611-888c-7e5b58184a2a" providerId="ADAL" clId="{492CA766-37C7-49E7-917E-99FEE8BB3045}" dt="2022-03-09T13:45:24.520" v="400" actId="1076"/>
          <ac:spMkLst>
            <pc:docMk/>
            <pc:sldMk cId="4029788326" sldId="2146846083"/>
            <ac:spMk id="9" creationId="{1A1CC5CF-E4A9-4228-8D28-E17457198A43}"/>
          </ac:spMkLst>
        </pc:spChg>
        <pc:spChg chg="mod">
          <ac:chgData name="Katerine Schifino" userId="37bb67de-9fcf-4611-888c-7e5b58184a2a" providerId="ADAL" clId="{492CA766-37C7-49E7-917E-99FEE8BB3045}" dt="2022-03-09T13:46:46.635" v="418" actId="554"/>
          <ac:spMkLst>
            <pc:docMk/>
            <pc:sldMk cId="4029788326" sldId="2146846083"/>
            <ac:spMk id="10" creationId="{A5B12F80-DF72-4288-96C7-59EB50B81B32}"/>
          </ac:spMkLst>
        </pc:spChg>
        <pc:spChg chg="add mod">
          <ac:chgData name="Katerine Schifino" userId="37bb67de-9fcf-4611-888c-7e5b58184a2a" providerId="ADAL" clId="{492CA766-37C7-49E7-917E-99FEE8BB3045}" dt="2022-03-09T13:46:46.635" v="418" actId="554"/>
          <ac:spMkLst>
            <pc:docMk/>
            <pc:sldMk cId="4029788326" sldId="2146846083"/>
            <ac:spMk id="11" creationId="{B2F87405-D3F2-480A-B980-7538BCFBDFA8}"/>
          </ac:spMkLst>
        </pc:spChg>
        <pc:spChg chg="add mod">
          <ac:chgData name="Katerine Schifino" userId="37bb67de-9fcf-4611-888c-7e5b58184a2a" providerId="ADAL" clId="{492CA766-37C7-49E7-917E-99FEE8BB3045}" dt="2022-03-09T13:46:46.635" v="418" actId="554"/>
          <ac:spMkLst>
            <pc:docMk/>
            <pc:sldMk cId="4029788326" sldId="2146846083"/>
            <ac:spMk id="12" creationId="{F8F35AD2-6BB3-417D-9DD1-7D9864637180}"/>
          </ac:spMkLst>
        </pc:spChg>
        <pc:spChg chg="add mod">
          <ac:chgData name="Katerine Schifino" userId="37bb67de-9fcf-4611-888c-7e5b58184a2a" providerId="ADAL" clId="{492CA766-37C7-49E7-917E-99FEE8BB3045}" dt="2022-03-09T13:46:46.635" v="418" actId="554"/>
          <ac:spMkLst>
            <pc:docMk/>
            <pc:sldMk cId="4029788326" sldId="2146846083"/>
            <ac:spMk id="13" creationId="{6E655797-480B-41D5-9675-B9BCB43AC29F}"/>
          </ac:spMkLst>
        </pc:spChg>
        <pc:grpChg chg="add mod">
          <ac:chgData name="Katerine Schifino" userId="37bb67de-9fcf-4611-888c-7e5b58184a2a" providerId="ADAL" clId="{492CA766-37C7-49E7-917E-99FEE8BB3045}" dt="2022-03-09T13:38:57.855" v="352" actId="164"/>
          <ac:grpSpMkLst>
            <pc:docMk/>
            <pc:sldMk cId="4029788326" sldId="2146846083"/>
            <ac:grpSpMk id="29" creationId="{CABD4F54-1BE4-4F22-B15E-DC14960750A4}"/>
          </ac:grpSpMkLst>
        </pc:grpChg>
        <pc:grpChg chg="add mod">
          <ac:chgData name="Katerine Schifino" userId="37bb67de-9fcf-4611-888c-7e5b58184a2a" providerId="ADAL" clId="{492CA766-37C7-49E7-917E-99FEE8BB3045}" dt="2022-03-09T13:46:25.656" v="415" actId="1076"/>
          <ac:grpSpMkLst>
            <pc:docMk/>
            <pc:sldMk cId="4029788326" sldId="2146846083"/>
            <ac:grpSpMk id="30" creationId="{F4DCDA5D-65CB-4CE4-8378-216C3FFA1175}"/>
          </ac:grpSpMkLst>
        </pc:grpChg>
        <pc:picChg chg="add del mod">
          <ac:chgData name="Katerine Schifino" userId="37bb67de-9fcf-4611-888c-7e5b58184a2a" providerId="ADAL" clId="{492CA766-37C7-49E7-917E-99FEE8BB3045}" dt="2022-03-09T13:36:51.971" v="312" actId="478"/>
          <ac:picMkLst>
            <pc:docMk/>
            <pc:sldMk cId="4029788326" sldId="2146846083"/>
            <ac:picMk id="14" creationId="{9EBAC618-6B02-4E79-A6D2-F3F9E45F4118}"/>
          </ac:picMkLst>
        </pc:picChg>
        <pc:picChg chg="add mod">
          <ac:chgData name="Katerine Schifino" userId="37bb67de-9fcf-4611-888c-7e5b58184a2a" providerId="ADAL" clId="{492CA766-37C7-49E7-917E-99FEE8BB3045}" dt="2022-03-09T13:38:46.685" v="349" actId="164"/>
          <ac:picMkLst>
            <pc:docMk/>
            <pc:sldMk cId="4029788326" sldId="2146846083"/>
            <ac:picMk id="16" creationId="{2894178B-8FAE-4807-9746-B7627E55CB4B}"/>
          </ac:picMkLst>
        </pc:picChg>
        <pc:picChg chg="add mod">
          <ac:chgData name="Katerine Schifino" userId="37bb67de-9fcf-4611-888c-7e5b58184a2a" providerId="ADAL" clId="{492CA766-37C7-49E7-917E-99FEE8BB3045}" dt="2022-03-09T13:38:46.685" v="349" actId="164"/>
          <ac:picMkLst>
            <pc:docMk/>
            <pc:sldMk cId="4029788326" sldId="2146846083"/>
            <ac:picMk id="18" creationId="{89835A30-6147-4D5F-8A3C-E35A5C8BB3AF}"/>
          </ac:picMkLst>
        </pc:picChg>
        <pc:picChg chg="add mod">
          <ac:chgData name="Katerine Schifino" userId="37bb67de-9fcf-4611-888c-7e5b58184a2a" providerId="ADAL" clId="{492CA766-37C7-49E7-917E-99FEE8BB3045}" dt="2022-03-09T13:38:46.685" v="349" actId="164"/>
          <ac:picMkLst>
            <pc:docMk/>
            <pc:sldMk cId="4029788326" sldId="2146846083"/>
            <ac:picMk id="20" creationId="{66AB7B97-D242-463F-8CD9-F3DA7CEC8929}"/>
          </ac:picMkLst>
        </pc:picChg>
        <pc:picChg chg="add mod">
          <ac:chgData name="Katerine Schifino" userId="37bb67de-9fcf-4611-888c-7e5b58184a2a" providerId="ADAL" clId="{492CA766-37C7-49E7-917E-99FEE8BB3045}" dt="2022-03-09T13:38:46.685" v="349" actId="164"/>
          <ac:picMkLst>
            <pc:docMk/>
            <pc:sldMk cId="4029788326" sldId="2146846083"/>
            <ac:picMk id="22" creationId="{97E8DB73-A062-4304-984F-63F9C375CC2D}"/>
          </ac:picMkLst>
        </pc:picChg>
        <pc:picChg chg="add mod">
          <ac:chgData name="Katerine Schifino" userId="37bb67de-9fcf-4611-888c-7e5b58184a2a" providerId="ADAL" clId="{492CA766-37C7-49E7-917E-99FEE8BB3045}" dt="2022-03-09T13:38:46.685" v="349" actId="164"/>
          <ac:picMkLst>
            <pc:docMk/>
            <pc:sldMk cId="4029788326" sldId="2146846083"/>
            <ac:picMk id="24" creationId="{2DC9C945-C195-478E-914A-31A4B27AD8D0}"/>
          </ac:picMkLst>
        </pc:picChg>
        <pc:picChg chg="add mod">
          <ac:chgData name="Katerine Schifino" userId="37bb67de-9fcf-4611-888c-7e5b58184a2a" providerId="ADAL" clId="{492CA766-37C7-49E7-917E-99FEE8BB3045}" dt="2022-03-09T13:38:46.685" v="349" actId="164"/>
          <ac:picMkLst>
            <pc:docMk/>
            <pc:sldMk cId="4029788326" sldId="2146846083"/>
            <ac:picMk id="26" creationId="{141D31DA-8810-4A7D-A352-CB17C16B7B24}"/>
          </ac:picMkLst>
        </pc:picChg>
        <pc:picChg chg="add mod">
          <ac:chgData name="Katerine Schifino" userId="37bb67de-9fcf-4611-888c-7e5b58184a2a" providerId="ADAL" clId="{492CA766-37C7-49E7-917E-99FEE8BB3045}" dt="2022-03-09T13:38:57.855" v="352" actId="164"/>
          <ac:picMkLst>
            <pc:docMk/>
            <pc:sldMk cId="4029788326" sldId="2146846083"/>
            <ac:picMk id="28" creationId="{241C1631-8179-4B11-BB3E-01724EB373F8}"/>
          </ac:picMkLst>
        </pc:picChg>
        <pc:picChg chg="add mod">
          <ac:chgData name="Katerine Schifino" userId="37bb67de-9fcf-4611-888c-7e5b58184a2a" providerId="ADAL" clId="{492CA766-37C7-49E7-917E-99FEE8BB3045}" dt="2022-03-09T13:46:31.075" v="416" actId="1076"/>
          <ac:picMkLst>
            <pc:docMk/>
            <pc:sldMk cId="4029788326" sldId="2146846083"/>
            <ac:picMk id="1026" creationId="{DDA77EEE-D515-4B46-9DAA-FDA12E8BAA13}"/>
          </ac:picMkLst>
        </pc:picChg>
        <pc:picChg chg="add del mod">
          <ac:chgData name="Katerine Schifino" userId="37bb67de-9fcf-4611-888c-7e5b58184a2a" providerId="ADAL" clId="{492CA766-37C7-49E7-917E-99FEE8BB3045}" dt="2022-03-09T13:34:41.490" v="286" actId="478"/>
          <ac:picMkLst>
            <pc:docMk/>
            <pc:sldMk cId="4029788326" sldId="2146846083"/>
            <ac:picMk id="1028" creationId="{9648605F-A031-46ED-91CC-975E0589718D}"/>
          </ac:picMkLst>
        </pc:picChg>
        <pc:picChg chg="add del mod">
          <ac:chgData name="Katerine Schifino" userId="37bb67de-9fcf-4611-888c-7e5b58184a2a" providerId="ADAL" clId="{492CA766-37C7-49E7-917E-99FEE8BB3045}" dt="2022-03-09T13:40:59.026" v="374" actId="478"/>
          <ac:picMkLst>
            <pc:docMk/>
            <pc:sldMk cId="4029788326" sldId="2146846083"/>
            <ac:picMk id="1030" creationId="{00F0C747-EE84-4119-AB63-60C94E38A7E5}"/>
          </ac:picMkLst>
        </pc:picChg>
        <pc:picChg chg="add mod">
          <ac:chgData name="Katerine Schifino" userId="37bb67de-9fcf-4611-888c-7e5b58184a2a" providerId="ADAL" clId="{492CA766-37C7-49E7-917E-99FEE8BB3045}" dt="2022-03-09T13:46:17.415" v="412" actId="1076"/>
          <ac:picMkLst>
            <pc:docMk/>
            <pc:sldMk cId="4029788326" sldId="2146846083"/>
            <ac:picMk id="1032" creationId="{28282688-4FF3-43D8-9BC5-9D264FEF3124}"/>
          </ac:picMkLst>
        </pc:picChg>
        <pc:picChg chg="add mod">
          <ac:chgData name="Katerine Schifino" userId="37bb67de-9fcf-4611-888c-7e5b58184a2a" providerId="ADAL" clId="{492CA766-37C7-49E7-917E-99FEE8BB3045}" dt="2022-03-09T13:46:19.207" v="413" actId="1076"/>
          <ac:picMkLst>
            <pc:docMk/>
            <pc:sldMk cId="4029788326" sldId="2146846083"/>
            <ac:picMk id="1034" creationId="{114E4872-53B0-416D-B1C1-4FABB9AA7205}"/>
          </ac:picMkLst>
        </pc:picChg>
        <pc:cxnChg chg="add mod">
          <ac:chgData name="Katerine Schifino" userId="37bb67de-9fcf-4611-888c-7e5b58184a2a" providerId="ADAL" clId="{492CA766-37C7-49E7-917E-99FEE8BB3045}" dt="2022-03-09T13:47:29.956" v="425" actId="1076"/>
          <ac:cxnSpMkLst>
            <pc:docMk/>
            <pc:sldMk cId="4029788326" sldId="2146846083"/>
            <ac:cxnSpMk id="39" creationId="{96FB56F6-2407-48C5-A8F0-72BB2721DE29}"/>
          </ac:cxnSpMkLst>
        </pc:cxnChg>
        <pc:cxnChg chg="add mod">
          <ac:chgData name="Katerine Schifino" userId="37bb67de-9fcf-4611-888c-7e5b58184a2a" providerId="ADAL" clId="{492CA766-37C7-49E7-917E-99FEE8BB3045}" dt="2022-03-09T13:47:34.575" v="427" actId="1076"/>
          <ac:cxnSpMkLst>
            <pc:docMk/>
            <pc:sldMk cId="4029788326" sldId="2146846083"/>
            <ac:cxnSpMk id="40" creationId="{2FE5F548-F342-40F6-9AFE-C628484B7D16}"/>
          </ac:cxnSpMkLst>
        </pc:cxnChg>
        <pc:cxnChg chg="add mod">
          <ac:chgData name="Katerine Schifino" userId="37bb67de-9fcf-4611-888c-7e5b58184a2a" providerId="ADAL" clId="{492CA766-37C7-49E7-917E-99FEE8BB3045}" dt="2022-03-09T13:47:22.238" v="423" actId="693"/>
          <ac:cxnSpMkLst>
            <pc:docMk/>
            <pc:sldMk cId="4029788326" sldId="2146846083"/>
            <ac:cxnSpMk id="1024" creationId="{EB400315-F640-438F-BD9A-0B8F8D037C4F}"/>
          </ac:cxnSpMkLst>
        </pc:cxnChg>
      </pc:sldChg>
      <pc:sldChg chg="modSp mod">
        <pc:chgData name="Katerine Schifino" userId="37bb67de-9fcf-4611-888c-7e5b58184a2a" providerId="ADAL" clId="{492CA766-37C7-49E7-917E-99FEE8BB3045}" dt="2022-03-09T17:02:10.577" v="2831" actId="1076"/>
        <pc:sldMkLst>
          <pc:docMk/>
          <pc:sldMk cId="1230900351" sldId="2146846085"/>
        </pc:sldMkLst>
        <pc:spChg chg="mod">
          <ac:chgData name="Katerine Schifino" userId="37bb67de-9fcf-4611-888c-7e5b58184a2a" providerId="ADAL" clId="{492CA766-37C7-49E7-917E-99FEE8BB3045}" dt="2022-03-09T14:04:24.678" v="626"/>
          <ac:spMkLst>
            <pc:docMk/>
            <pc:sldMk cId="1230900351" sldId="2146846085"/>
            <ac:spMk id="3" creationId="{D27D7BD4-79A4-4F74-AEDD-B6DF3D38FA7F}"/>
          </ac:spMkLst>
        </pc:spChg>
        <pc:spChg chg="mod">
          <ac:chgData name="Katerine Schifino" userId="37bb67de-9fcf-4611-888c-7e5b58184a2a" providerId="ADAL" clId="{492CA766-37C7-49E7-917E-99FEE8BB3045}" dt="2022-03-09T17:02:07.247" v="2830" actId="1076"/>
          <ac:spMkLst>
            <pc:docMk/>
            <pc:sldMk cId="1230900351" sldId="2146846085"/>
            <ac:spMk id="20" creationId="{4638D83B-B0A3-46E5-A1ED-BDF11A3CF4F2}"/>
          </ac:spMkLst>
        </pc:spChg>
        <pc:spChg chg="mod">
          <ac:chgData name="Katerine Schifino" userId="37bb67de-9fcf-4611-888c-7e5b58184a2a" providerId="ADAL" clId="{492CA766-37C7-49E7-917E-99FEE8BB3045}" dt="2022-03-09T17:02:10.577" v="2831" actId="1076"/>
          <ac:spMkLst>
            <pc:docMk/>
            <pc:sldMk cId="1230900351" sldId="2146846085"/>
            <ac:spMk id="21" creationId="{3C175686-E1E0-449D-93A9-5F194FE56602}"/>
          </ac:spMkLst>
        </pc:spChg>
        <pc:spChg chg="mod">
          <ac:chgData name="Katerine Schifino" userId="37bb67de-9fcf-4611-888c-7e5b58184a2a" providerId="ADAL" clId="{492CA766-37C7-49E7-917E-99FEE8BB3045}" dt="2022-03-09T14:11:05.630" v="664" actId="207"/>
          <ac:spMkLst>
            <pc:docMk/>
            <pc:sldMk cId="1230900351" sldId="2146846085"/>
            <ac:spMk id="54" creationId="{CA33CA92-6C9A-4BBF-A9CA-3EB3057DD5D4}"/>
          </ac:spMkLst>
        </pc:spChg>
      </pc:sldChg>
      <pc:sldChg chg="addSp delSp modSp mod">
        <pc:chgData name="Katerine Schifino" userId="37bb67de-9fcf-4611-888c-7e5b58184a2a" providerId="ADAL" clId="{492CA766-37C7-49E7-917E-99FEE8BB3045}" dt="2022-03-09T15:49:12.970" v="1939" actId="20577"/>
        <pc:sldMkLst>
          <pc:docMk/>
          <pc:sldMk cId="2851014050" sldId="2146846086"/>
        </pc:sldMkLst>
        <pc:spChg chg="mod">
          <ac:chgData name="Katerine Schifino" userId="37bb67de-9fcf-4611-888c-7e5b58184a2a" providerId="ADAL" clId="{492CA766-37C7-49E7-917E-99FEE8BB3045}" dt="2022-03-09T15:24:51.231" v="1658" actId="6549"/>
          <ac:spMkLst>
            <pc:docMk/>
            <pc:sldMk cId="2851014050" sldId="2146846086"/>
            <ac:spMk id="3" creationId="{D27D7BD4-79A4-4F74-AEDD-B6DF3D38FA7F}"/>
          </ac:spMkLst>
        </pc:spChg>
        <pc:spChg chg="mod">
          <ac:chgData name="Katerine Schifino" userId="37bb67de-9fcf-4611-888c-7e5b58184a2a" providerId="ADAL" clId="{492CA766-37C7-49E7-917E-99FEE8BB3045}" dt="2022-03-09T15:49:12.970" v="1939" actId="20577"/>
          <ac:spMkLst>
            <pc:docMk/>
            <pc:sldMk cId="2851014050" sldId="2146846086"/>
            <ac:spMk id="4" creationId="{CB7FC126-B18B-4488-BEC7-75909B7023CC}"/>
          </ac:spMkLst>
        </pc:spChg>
        <pc:spChg chg="add mod">
          <ac:chgData name="Katerine Schifino" userId="37bb67de-9fcf-4611-888c-7e5b58184a2a" providerId="ADAL" clId="{492CA766-37C7-49E7-917E-99FEE8BB3045}" dt="2022-03-09T15:48:25.380" v="1932" actId="1036"/>
          <ac:spMkLst>
            <pc:docMk/>
            <pc:sldMk cId="2851014050" sldId="2146846086"/>
            <ac:spMk id="5" creationId="{CE0A2097-C16B-40B9-998B-BADE8D8FD360}"/>
          </ac:spMkLst>
        </pc:spChg>
        <pc:spChg chg="add mod">
          <ac:chgData name="Katerine Schifino" userId="37bb67de-9fcf-4611-888c-7e5b58184a2a" providerId="ADAL" clId="{492CA766-37C7-49E7-917E-99FEE8BB3045}" dt="2022-03-09T15:41:50.571" v="1843" actId="1076"/>
          <ac:spMkLst>
            <pc:docMk/>
            <pc:sldMk cId="2851014050" sldId="2146846086"/>
            <ac:spMk id="7" creationId="{765ED80A-AA2A-4A29-BE5D-D05A71AE7A89}"/>
          </ac:spMkLst>
        </pc:spChg>
        <pc:spChg chg="add mod ord">
          <ac:chgData name="Katerine Schifino" userId="37bb67de-9fcf-4611-888c-7e5b58184a2a" providerId="ADAL" clId="{492CA766-37C7-49E7-917E-99FEE8BB3045}" dt="2022-03-09T15:48:25.380" v="1932" actId="1036"/>
          <ac:spMkLst>
            <pc:docMk/>
            <pc:sldMk cId="2851014050" sldId="2146846086"/>
            <ac:spMk id="16" creationId="{00550377-C6B7-4E09-B418-4241A27A6C7C}"/>
          </ac:spMkLst>
        </pc:spChg>
        <pc:spChg chg="add mod ord">
          <ac:chgData name="Katerine Schifino" userId="37bb67de-9fcf-4611-888c-7e5b58184a2a" providerId="ADAL" clId="{492CA766-37C7-49E7-917E-99FEE8BB3045}" dt="2022-03-09T15:48:25.380" v="1932" actId="1036"/>
          <ac:spMkLst>
            <pc:docMk/>
            <pc:sldMk cId="2851014050" sldId="2146846086"/>
            <ac:spMk id="20" creationId="{F3D66EBC-C756-4157-8B54-566C0A7600E8}"/>
          </ac:spMkLst>
        </pc:spChg>
        <pc:spChg chg="add mod ord">
          <ac:chgData name="Katerine Schifino" userId="37bb67de-9fcf-4611-888c-7e5b58184a2a" providerId="ADAL" clId="{492CA766-37C7-49E7-917E-99FEE8BB3045}" dt="2022-03-09T15:48:25.380" v="1932" actId="1036"/>
          <ac:spMkLst>
            <pc:docMk/>
            <pc:sldMk cId="2851014050" sldId="2146846086"/>
            <ac:spMk id="21" creationId="{D8685849-E1C3-4682-A66A-127767AC06D3}"/>
          </ac:spMkLst>
        </pc:spChg>
        <pc:grpChg chg="add mod">
          <ac:chgData name="Katerine Schifino" userId="37bb67de-9fcf-4611-888c-7e5b58184a2a" providerId="ADAL" clId="{492CA766-37C7-49E7-917E-99FEE8BB3045}" dt="2022-03-09T15:48:25.380" v="1932" actId="1036"/>
          <ac:grpSpMkLst>
            <pc:docMk/>
            <pc:sldMk cId="2851014050" sldId="2146846086"/>
            <ac:grpSpMk id="17" creationId="{D8827DAF-3D37-4E78-A1F2-545BA283318C}"/>
          </ac:grpSpMkLst>
        </pc:grpChg>
        <pc:grpChg chg="add mod">
          <ac:chgData name="Katerine Schifino" userId="37bb67de-9fcf-4611-888c-7e5b58184a2a" providerId="ADAL" clId="{492CA766-37C7-49E7-917E-99FEE8BB3045}" dt="2022-03-09T15:48:25.380" v="1932" actId="1036"/>
          <ac:grpSpMkLst>
            <pc:docMk/>
            <pc:sldMk cId="2851014050" sldId="2146846086"/>
            <ac:grpSpMk id="26" creationId="{75191A7F-C3B0-4021-B8D0-D93D7DE65F41}"/>
          </ac:grpSpMkLst>
        </pc:grpChg>
        <pc:picChg chg="add mod">
          <ac:chgData name="Katerine Schifino" userId="37bb67de-9fcf-4611-888c-7e5b58184a2a" providerId="ADAL" clId="{492CA766-37C7-49E7-917E-99FEE8BB3045}" dt="2022-03-09T15:48:25.380" v="1932" actId="1036"/>
          <ac:picMkLst>
            <pc:docMk/>
            <pc:sldMk cId="2851014050" sldId="2146846086"/>
            <ac:picMk id="9" creationId="{55B7D5C8-8192-4E40-9139-7C94CDA468A7}"/>
          </ac:picMkLst>
        </pc:picChg>
        <pc:picChg chg="add del mod">
          <ac:chgData name="Katerine Schifino" userId="37bb67de-9fcf-4611-888c-7e5b58184a2a" providerId="ADAL" clId="{492CA766-37C7-49E7-917E-99FEE8BB3045}" dt="2022-03-09T15:44:49.140" v="1866" actId="478"/>
          <ac:picMkLst>
            <pc:docMk/>
            <pc:sldMk cId="2851014050" sldId="2146846086"/>
            <ac:picMk id="11" creationId="{FB632E6A-9AD9-4F5C-996A-E171CF688BD5}"/>
          </ac:picMkLst>
        </pc:picChg>
        <pc:picChg chg="add mod">
          <ac:chgData name="Katerine Schifino" userId="37bb67de-9fcf-4611-888c-7e5b58184a2a" providerId="ADAL" clId="{492CA766-37C7-49E7-917E-99FEE8BB3045}" dt="2022-03-09T15:48:25.380" v="1932" actId="1036"/>
          <ac:picMkLst>
            <pc:docMk/>
            <pc:sldMk cId="2851014050" sldId="2146846086"/>
            <ac:picMk id="13" creationId="{D90C76E4-1C6C-40DF-9600-57568513C3D6}"/>
          </ac:picMkLst>
        </pc:picChg>
        <pc:picChg chg="add mod">
          <ac:chgData name="Katerine Schifino" userId="37bb67de-9fcf-4611-888c-7e5b58184a2a" providerId="ADAL" clId="{492CA766-37C7-49E7-917E-99FEE8BB3045}" dt="2022-03-09T15:48:25.380" v="1932" actId="1036"/>
          <ac:picMkLst>
            <pc:docMk/>
            <pc:sldMk cId="2851014050" sldId="2146846086"/>
            <ac:picMk id="15" creationId="{309EBF44-E90A-491E-8558-14F7DCFB3E5A}"/>
          </ac:picMkLst>
        </pc:picChg>
        <pc:picChg chg="add mod">
          <ac:chgData name="Katerine Schifino" userId="37bb67de-9fcf-4611-888c-7e5b58184a2a" providerId="ADAL" clId="{492CA766-37C7-49E7-917E-99FEE8BB3045}" dt="2022-03-09T15:48:25.380" v="1932" actId="1036"/>
          <ac:picMkLst>
            <pc:docMk/>
            <pc:sldMk cId="2851014050" sldId="2146846086"/>
            <ac:picMk id="19" creationId="{1F1AF863-2770-455E-B473-DD8AA5D56B71}"/>
          </ac:picMkLst>
        </pc:picChg>
        <pc:picChg chg="add mod">
          <ac:chgData name="Katerine Schifino" userId="37bb67de-9fcf-4611-888c-7e5b58184a2a" providerId="ADAL" clId="{492CA766-37C7-49E7-917E-99FEE8BB3045}" dt="2022-03-09T15:48:25.380" v="1932" actId="1036"/>
          <ac:picMkLst>
            <pc:docMk/>
            <pc:sldMk cId="2851014050" sldId="2146846086"/>
            <ac:picMk id="23" creationId="{94967B6F-DF03-42E8-B465-CF7DF8BAFF67}"/>
          </ac:picMkLst>
        </pc:picChg>
        <pc:picChg chg="add mod">
          <ac:chgData name="Katerine Schifino" userId="37bb67de-9fcf-4611-888c-7e5b58184a2a" providerId="ADAL" clId="{492CA766-37C7-49E7-917E-99FEE8BB3045}" dt="2022-03-09T15:48:25.380" v="1932" actId="1036"/>
          <ac:picMkLst>
            <pc:docMk/>
            <pc:sldMk cId="2851014050" sldId="2146846086"/>
            <ac:picMk id="25" creationId="{BAA7D145-BE09-48E0-8B74-B02FCA7C0574}"/>
          </ac:picMkLst>
        </pc:picChg>
        <pc:picChg chg="add del mod">
          <ac:chgData name="Katerine Schifino" userId="37bb67de-9fcf-4611-888c-7e5b58184a2a" providerId="ADAL" clId="{492CA766-37C7-49E7-917E-99FEE8BB3045}" dt="2022-03-09T15:35:23.153" v="1783" actId="478"/>
          <ac:picMkLst>
            <pc:docMk/>
            <pc:sldMk cId="2851014050" sldId="2146846086"/>
            <ac:picMk id="4098" creationId="{9DF616C5-ECFF-43BA-AE4F-F69351402498}"/>
          </ac:picMkLst>
        </pc:picChg>
        <pc:picChg chg="add mod">
          <ac:chgData name="Katerine Schifino" userId="37bb67de-9fcf-4611-888c-7e5b58184a2a" providerId="ADAL" clId="{492CA766-37C7-49E7-917E-99FEE8BB3045}" dt="2022-03-09T15:41:54.361" v="1844" actId="1076"/>
          <ac:picMkLst>
            <pc:docMk/>
            <pc:sldMk cId="2851014050" sldId="2146846086"/>
            <ac:picMk id="4100" creationId="{302C0A23-72ED-4E4D-AF9A-D7FBAF1939D3}"/>
          </ac:picMkLst>
        </pc:picChg>
        <pc:picChg chg="add mod">
          <ac:chgData name="Katerine Schifino" userId="37bb67de-9fcf-4611-888c-7e5b58184a2a" providerId="ADAL" clId="{492CA766-37C7-49E7-917E-99FEE8BB3045}" dt="2022-03-09T15:48:25.380" v="1932" actId="1036"/>
          <ac:picMkLst>
            <pc:docMk/>
            <pc:sldMk cId="2851014050" sldId="2146846086"/>
            <ac:picMk id="4102" creationId="{2E05A060-3540-4546-807F-C4F5AEE89C41}"/>
          </ac:picMkLst>
        </pc:picChg>
        <pc:cxnChg chg="add del mod">
          <ac:chgData name="Katerine Schifino" userId="37bb67de-9fcf-4611-888c-7e5b58184a2a" providerId="ADAL" clId="{492CA766-37C7-49E7-917E-99FEE8BB3045}" dt="2022-03-09T15:48:18.250" v="1918" actId="478"/>
          <ac:cxnSpMkLst>
            <pc:docMk/>
            <pc:sldMk cId="2851014050" sldId="2146846086"/>
            <ac:cxnSpMk id="28" creationId="{76A67DB8-567E-4BF4-AE56-4DEE0DBD3EDF}"/>
          </ac:cxnSpMkLst>
        </pc:cxnChg>
        <pc:cxnChg chg="add mod">
          <ac:chgData name="Katerine Schifino" userId="37bb67de-9fcf-4611-888c-7e5b58184a2a" providerId="ADAL" clId="{492CA766-37C7-49E7-917E-99FEE8BB3045}" dt="2022-03-09T15:48:25.380" v="1932" actId="1036"/>
          <ac:cxnSpMkLst>
            <pc:docMk/>
            <pc:sldMk cId="2851014050" sldId="2146846086"/>
            <ac:cxnSpMk id="32" creationId="{11AF03D5-F1FB-48B3-89E3-282B9B22B7F8}"/>
          </ac:cxnSpMkLst>
        </pc:cxnChg>
      </pc:sldChg>
      <pc:sldChg chg="addSp delSp modSp del mod modClrScheme chgLayout modNotesTx">
        <pc:chgData name="Katerine Schifino" userId="37bb67de-9fcf-4611-888c-7e5b58184a2a" providerId="ADAL" clId="{492CA766-37C7-49E7-917E-99FEE8BB3045}" dt="2022-03-09T15:51:41.500" v="1941" actId="47"/>
        <pc:sldMkLst>
          <pc:docMk/>
          <pc:sldMk cId="3819789892" sldId="2146846087"/>
        </pc:sldMkLst>
        <pc:spChg chg="del mod ord">
          <ac:chgData name="Katerine Schifino" userId="37bb67de-9fcf-4611-888c-7e5b58184a2a" providerId="ADAL" clId="{492CA766-37C7-49E7-917E-99FEE8BB3045}" dt="2022-03-09T15:03:03.987" v="1259" actId="478"/>
          <ac:spMkLst>
            <pc:docMk/>
            <pc:sldMk cId="3819789892" sldId="2146846087"/>
            <ac:spMk id="2" creationId="{C0E9A057-F805-4750-9C97-49B491EDA40C}"/>
          </ac:spMkLst>
        </pc:spChg>
        <pc:spChg chg="del mod ord">
          <ac:chgData name="Katerine Schifino" userId="37bb67de-9fcf-4611-888c-7e5b58184a2a" providerId="ADAL" clId="{492CA766-37C7-49E7-917E-99FEE8BB3045}" dt="2022-03-09T15:03:06.047" v="1260" actId="478"/>
          <ac:spMkLst>
            <pc:docMk/>
            <pc:sldMk cId="3819789892" sldId="2146846087"/>
            <ac:spMk id="3" creationId="{F4A95292-C17D-4596-AC2A-D617A46EBAA8}"/>
          </ac:spMkLst>
        </pc:spChg>
        <pc:spChg chg="add mod">
          <ac:chgData name="Katerine Schifino" userId="37bb67de-9fcf-4611-888c-7e5b58184a2a" providerId="ADAL" clId="{492CA766-37C7-49E7-917E-99FEE8BB3045}" dt="2022-03-09T15:03:55.601" v="1263" actId="207"/>
          <ac:spMkLst>
            <pc:docMk/>
            <pc:sldMk cId="3819789892" sldId="2146846087"/>
            <ac:spMk id="5" creationId="{9C9D9CE3-BC55-451D-BCA8-2E89350DDF3F}"/>
          </ac:spMkLst>
        </pc:spChg>
        <pc:picChg chg="add del mod">
          <ac:chgData name="Katerine Schifino" userId="37bb67de-9fcf-4611-888c-7e5b58184a2a" providerId="ADAL" clId="{492CA766-37C7-49E7-917E-99FEE8BB3045}" dt="2022-03-09T15:03:50.636" v="1262" actId="478"/>
          <ac:picMkLst>
            <pc:docMk/>
            <pc:sldMk cId="3819789892" sldId="2146846087"/>
            <ac:picMk id="4" creationId="{F53401F9-5733-4290-AF60-D75FD83955C4}"/>
          </ac:picMkLst>
        </pc:picChg>
      </pc:sldChg>
      <pc:sldChg chg="addSp delSp modSp mod modClrScheme chgLayout">
        <pc:chgData name="Katerine Schifino" userId="37bb67de-9fcf-4611-888c-7e5b58184a2a" providerId="ADAL" clId="{492CA766-37C7-49E7-917E-99FEE8BB3045}" dt="2022-03-14T13:23:27.179" v="3949" actId="113"/>
        <pc:sldMkLst>
          <pc:docMk/>
          <pc:sldMk cId="383325140" sldId="2146846088"/>
        </pc:sldMkLst>
        <pc:spChg chg="mod">
          <ac:chgData name="Katerine Schifino" userId="37bb67de-9fcf-4611-888c-7e5b58184a2a" providerId="ADAL" clId="{492CA766-37C7-49E7-917E-99FEE8BB3045}" dt="2022-03-14T13:23:02.765" v="3942" actId="1076"/>
          <ac:spMkLst>
            <pc:docMk/>
            <pc:sldMk cId="383325140" sldId="2146846088"/>
            <ac:spMk id="4" creationId="{CDF94B85-8F07-485F-B1AC-F63AC631DAEF}"/>
          </ac:spMkLst>
        </pc:spChg>
        <pc:spChg chg="mod">
          <ac:chgData name="Katerine Schifino" userId="37bb67de-9fcf-4611-888c-7e5b58184a2a" providerId="ADAL" clId="{492CA766-37C7-49E7-917E-99FEE8BB3045}" dt="2022-03-14T13:23:27.179" v="3949" actId="113"/>
          <ac:spMkLst>
            <pc:docMk/>
            <pc:sldMk cId="383325140" sldId="2146846088"/>
            <ac:spMk id="7" creationId="{9D971B76-39BB-4F59-925B-D4649E5075A1}"/>
          </ac:spMkLst>
        </pc:spChg>
        <pc:spChg chg="mod">
          <ac:chgData name="Katerine Schifino" userId="37bb67de-9fcf-4611-888c-7e5b58184a2a" providerId="ADAL" clId="{492CA766-37C7-49E7-917E-99FEE8BB3045}" dt="2022-03-14T13:23:02.765" v="3942" actId="1076"/>
          <ac:spMkLst>
            <pc:docMk/>
            <pc:sldMk cId="383325140" sldId="2146846088"/>
            <ac:spMk id="8" creationId="{515A97A6-207B-4714-80E8-D1075523A151}"/>
          </ac:spMkLst>
        </pc:spChg>
        <pc:spChg chg="add del mod">
          <ac:chgData name="Katerine Schifino" userId="37bb67de-9fcf-4611-888c-7e5b58184a2a" providerId="ADAL" clId="{492CA766-37C7-49E7-917E-99FEE8BB3045}" dt="2022-03-09T20:13:21.373" v="3142" actId="478"/>
          <ac:spMkLst>
            <pc:docMk/>
            <pc:sldMk cId="383325140" sldId="2146846088"/>
            <ac:spMk id="9" creationId="{CF68D8A5-10E8-4576-AE8C-578B03C3E80D}"/>
          </ac:spMkLst>
        </pc:spChg>
        <pc:spChg chg="mod">
          <ac:chgData name="Katerine Schifino" userId="37bb67de-9fcf-4611-888c-7e5b58184a2a" providerId="ADAL" clId="{492CA766-37C7-49E7-917E-99FEE8BB3045}" dt="2022-03-09T16:47:51.747" v="2824"/>
          <ac:spMkLst>
            <pc:docMk/>
            <pc:sldMk cId="383325140" sldId="2146846088"/>
            <ac:spMk id="12" creationId="{D5A95070-4965-4F87-8DE3-DBDBAF6C092B}"/>
          </ac:spMkLst>
        </pc:spChg>
        <pc:spChg chg="mod">
          <ac:chgData name="Katerine Schifino" userId="37bb67de-9fcf-4611-888c-7e5b58184a2a" providerId="ADAL" clId="{492CA766-37C7-49E7-917E-99FEE8BB3045}" dt="2022-03-09T16:47:51.747" v="2824"/>
          <ac:spMkLst>
            <pc:docMk/>
            <pc:sldMk cId="383325140" sldId="2146846088"/>
            <ac:spMk id="13" creationId="{E41CDAC0-9165-44BD-BD58-7CEF69AE7ACD}"/>
          </ac:spMkLst>
        </pc:spChg>
        <pc:spChg chg="mod">
          <ac:chgData name="Katerine Schifino" userId="37bb67de-9fcf-4611-888c-7e5b58184a2a" providerId="ADAL" clId="{492CA766-37C7-49E7-917E-99FEE8BB3045}" dt="2022-03-09T16:47:51.747" v="2824"/>
          <ac:spMkLst>
            <pc:docMk/>
            <pc:sldMk cId="383325140" sldId="2146846088"/>
            <ac:spMk id="14" creationId="{F06A19F5-928B-4C6F-A834-13763BE4CDB4}"/>
          </ac:spMkLst>
        </pc:spChg>
        <pc:spChg chg="mod">
          <ac:chgData name="Katerine Schifino" userId="37bb67de-9fcf-4611-888c-7e5b58184a2a" providerId="ADAL" clId="{492CA766-37C7-49E7-917E-99FEE8BB3045}" dt="2022-03-09T16:47:51.747" v="2824"/>
          <ac:spMkLst>
            <pc:docMk/>
            <pc:sldMk cId="383325140" sldId="2146846088"/>
            <ac:spMk id="15" creationId="{609670D7-1FF4-4C7C-9DE7-96372BB488E4}"/>
          </ac:spMkLst>
        </pc:spChg>
        <pc:spChg chg="mod">
          <ac:chgData name="Katerine Schifino" userId="37bb67de-9fcf-4611-888c-7e5b58184a2a" providerId="ADAL" clId="{492CA766-37C7-49E7-917E-99FEE8BB3045}" dt="2022-03-09T16:47:51.747" v="2824"/>
          <ac:spMkLst>
            <pc:docMk/>
            <pc:sldMk cId="383325140" sldId="2146846088"/>
            <ac:spMk id="16" creationId="{848BBA26-F191-4977-ACA0-F4DFC41B299C}"/>
          </ac:spMkLst>
        </pc:spChg>
        <pc:spChg chg="mod">
          <ac:chgData name="Katerine Schifino" userId="37bb67de-9fcf-4611-888c-7e5b58184a2a" providerId="ADAL" clId="{492CA766-37C7-49E7-917E-99FEE8BB3045}" dt="2022-03-09T16:47:51.747" v="2824"/>
          <ac:spMkLst>
            <pc:docMk/>
            <pc:sldMk cId="383325140" sldId="2146846088"/>
            <ac:spMk id="17" creationId="{CE2D1579-8166-4DF1-921A-ADCDA55B91BA}"/>
          </ac:spMkLst>
        </pc:spChg>
        <pc:spChg chg="mod">
          <ac:chgData name="Katerine Schifino" userId="37bb67de-9fcf-4611-888c-7e5b58184a2a" providerId="ADAL" clId="{492CA766-37C7-49E7-917E-99FEE8BB3045}" dt="2022-03-09T16:47:51.747" v="2824"/>
          <ac:spMkLst>
            <pc:docMk/>
            <pc:sldMk cId="383325140" sldId="2146846088"/>
            <ac:spMk id="18" creationId="{276D7BB2-CDBC-405F-A507-F1B98897FA78}"/>
          </ac:spMkLst>
        </pc:spChg>
        <pc:spChg chg="mod">
          <ac:chgData name="Katerine Schifino" userId="37bb67de-9fcf-4611-888c-7e5b58184a2a" providerId="ADAL" clId="{492CA766-37C7-49E7-917E-99FEE8BB3045}" dt="2022-03-09T16:47:51.747" v="2824"/>
          <ac:spMkLst>
            <pc:docMk/>
            <pc:sldMk cId="383325140" sldId="2146846088"/>
            <ac:spMk id="19" creationId="{1CEBE4EE-991E-4DFE-BD8E-F6BB1772F943}"/>
          </ac:spMkLst>
        </pc:spChg>
        <pc:spChg chg="del">
          <ac:chgData name="Katerine Schifino" userId="37bb67de-9fcf-4611-888c-7e5b58184a2a" providerId="ADAL" clId="{492CA766-37C7-49E7-917E-99FEE8BB3045}" dt="2022-03-09T15:57:17.461" v="1980" actId="478"/>
          <ac:spMkLst>
            <pc:docMk/>
            <pc:sldMk cId="383325140" sldId="2146846088"/>
            <ac:spMk id="20" creationId="{78B5DFB7-95B6-48CF-B15E-D9245E492B65}"/>
          </ac:spMkLst>
        </pc:spChg>
        <pc:spChg chg="mod">
          <ac:chgData name="Katerine Schifino" userId="37bb67de-9fcf-4611-888c-7e5b58184a2a" providerId="ADAL" clId="{492CA766-37C7-49E7-917E-99FEE8BB3045}" dt="2022-03-09T16:47:51.747" v="2824"/>
          <ac:spMkLst>
            <pc:docMk/>
            <pc:sldMk cId="383325140" sldId="2146846088"/>
            <ac:spMk id="22" creationId="{ECFAE57A-DB3A-4A49-9BAC-94CBB2D79F39}"/>
          </ac:spMkLst>
        </pc:spChg>
        <pc:grpChg chg="add mod">
          <ac:chgData name="Katerine Schifino" userId="37bb67de-9fcf-4611-888c-7e5b58184a2a" providerId="ADAL" clId="{492CA766-37C7-49E7-917E-99FEE8BB3045}" dt="2022-03-14T13:23:02.765" v="3942" actId="1076"/>
          <ac:grpSpMkLst>
            <pc:docMk/>
            <pc:sldMk cId="383325140" sldId="2146846088"/>
            <ac:grpSpMk id="3" creationId="{DB04D122-840A-4341-8150-EB5701BBB290}"/>
          </ac:grpSpMkLst>
        </pc:grpChg>
        <pc:grpChg chg="add del mod">
          <ac:chgData name="Katerine Schifino" userId="37bb67de-9fcf-4611-888c-7e5b58184a2a" providerId="ADAL" clId="{492CA766-37C7-49E7-917E-99FEE8BB3045}" dt="2022-03-09T20:13:19.248" v="3141" actId="478"/>
          <ac:grpSpMkLst>
            <pc:docMk/>
            <pc:sldMk cId="383325140" sldId="2146846088"/>
            <ac:grpSpMk id="10" creationId="{C10B9DAD-C892-4F2D-ABB8-438C386E75BD}"/>
          </ac:grpSpMkLst>
        </pc:grpChg>
        <pc:grpChg chg="mod">
          <ac:chgData name="Katerine Schifino" userId="37bb67de-9fcf-4611-888c-7e5b58184a2a" providerId="ADAL" clId="{492CA766-37C7-49E7-917E-99FEE8BB3045}" dt="2022-03-09T16:47:51.747" v="2824"/>
          <ac:grpSpMkLst>
            <pc:docMk/>
            <pc:sldMk cId="383325140" sldId="2146846088"/>
            <ac:grpSpMk id="11" creationId="{96237173-F080-42F8-9962-E14A813FE6ED}"/>
          </ac:grpSpMkLst>
        </pc:grpChg>
        <pc:picChg chg="mod">
          <ac:chgData name="Katerine Schifino" userId="37bb67de-9fcf-4611-888c-7e5b58184a2a" providerId="ADAL" clId="{492CA766-37C7-49E7-917E-99FEE8BB3045}" dt="2022-03-14T13:23:02.765" v="3942" actId="1076"/>
          <ac:picMkLst>
            <pc:docMk/>
            <pc:sldMk cId="383325140" sldId="2146846088"/>
            <ac:picMk id="5" creationId="{12996408-065C-4526-8009-AE3AEC40FC1B}"/>
          </ac:picMkLst>
        </pc:picChg>
        <pc:picChg chg="mod">
          <ac:chgData name="Katerine Schifino" userId="37bb67de-9fcf-4611-888c-7e5b58184a2a" providerId="ADAL" clId="{492CA766-37C7-49E7-917E-99FEE8BB3045}" dt="2022-03-14T13:23:02.765" v="3942" actId="1076"/>
          <ac:picMkLst>
            <pc:docMk/>
            <pc:sldMk cId="383325140" sldId="2146846088"/>
            <ac:picMk id="6" creationId="{239FD932-8455-45DB-8332-706D17A536EA}"/>
          </ac:picMkLst>
        </pc:picChg>
        <pc:picChg chg="mod">
          <ac:chgData name="Katerine Schifino" userId="37bb67de-9fcf-4611-888c-7e5b58184a2a" providerId="ADAL" clId="{492CA766-37C7-49E7-917E-99FEE8BB3045}" dt="2022-03-09T16:47:51.747" v="2824"/>
          <ac:picMkLst>
            <pc:docMk/>
            <pc:sldMk cId="383325140" sldId="2146846088"/>
            <ac:picMk id="21" creationId="{0EF9AE1B-74FF-4A91-9199-5CBF4923420D}"/>
          </ac:picMkLst>
        </pc:picChg>
      </pc:sldChg>
      <pc:sldChg chg="add del">
        <pc:chgData name="Katerine Schifino" userId="37bb67de-9fcf-4611-888c-7e5b58184a2a" providerId="ADAL" clId="{492CA766-37C7-49E7-917E-99FEE8BB3045}" dt="2022-03-09T14:56:20.417" v="1138" actId="47"/>
        <pc:sldMkLst>
          <pc:docMk/>
          <pc:sldMk cId="2244262079" sldId="2146846089"/>
        </pc:sldMkLst>
      </pc:sldChg>
      <pc:sldChg chg="modSp add">
        <pc:chgData name="Katerine Schifino" userId="37bb67de-9fcf-4611-888c-7e5b58184a2a" providerId="ADAL" clId="{492CA766-37C7-49E7-917E-99FEE8BB3045}" dt="2022-03-09T16:26:43.931" v="2823"/>
        <pc:sldMkLst>
          <pc:docMk/>
          <pc:sldMk cId="3736734467" sldId="2146846089"/>
        </pc:sldMkLst>
        <pc:graphicFrameChg chg="mod">
          <ac:chgData name="Katerine Schifino" userId="37bb67de-9fcf-4611-888c-7e5b58184a2a" providerId="ADAL" clId="{492CA766-37C7-49E7-917E-99FEE8BB3045}" dt="2022-03-09T16:26:43.931" v="2823"/>
          <ac:graphicFrameMkLst>
            <pc:docMk/>
            <pc:sldMk cId="3736734467" sldId="2146846089"/>
            <ac:graphicFrameMk id="2" creationId="{DABEA71B-03AC-48AD-8E3A-F5B4F36922D0}"/>
          </ac:graphicFrameMkLst>
        </pc:graphicFrameChg>
      </pc:sldChg>
      <pc:sldChg chg="modSp add">
        <pc:chgData name="Katerine Schifino" userId="37bb67de-9fcf-4611-888c-7e5b58184a2a" providerId="ADAL" clId="{492CA766-37C7-49E7-917E-99FEE8BB3045}" dt="2022-03-09T16:26:31.038" v="2821"/>
        <pc:sldMkLst>
          <pc:docMk/>
          <pc:sldMk cId="1449545104" sldId="2146846090"/>
        </pc:sldMkLst>
        <pc:graphicFrameChg chg="mod">
          <ac:chgData name="Katerine Schifino" userId="37bb67de-9fcf-4611-888c-7e5b58184a2a" providerId="ADAL" clId="{492CA766-37C7-49E7-917E-99FEE8BB3045}" dt="2022-03-09T16:26:31.038" v="2821"/>
          <ac:graphicFrameMkLst>
            <pc:docMk/>
            <pc:sldMk cId="1449545104" sldId="2146846090"/>
            <ac:graphicFrameMk id="2" creationId="{DABEA71B-03AC-48AD-8E3A-F5B4F36922D0}"/>
          </ac:graphicFrameMkLst>
        </pc:graphicFrameChg>
      </pc:sldChg>
      <pc:sldChg chg="modSp add">
        <pc:chgData name="Katerine Schifino" userId="37bb67de-9fcf-4611-888c-7e5b58184a2a" providerId="ADAL" clId="{492CA766-37C7-49E7-917E-99FEE8BB3045}" dt="2022-03-09T16:26:08.568" v="2819"/>
        <pc:sldMkLst>
          <pc:docMk/>
          <pc:sldMk cId="198724141" sldId="2146846091"/>
        </pc:sldMkLst>
        <pc:graphicFrameChg chg="mod">
          <ac:chgData name="Katerine Schifino" userId="37bb67de-9fcf-4611-888c-7e5b58184a2a" providerId="ADAL" clId="{492CA766-37C7-49E7-917E-99FEE8BB3045}" dt="2022-03-09T16:26:08.568" v="2819"/>
          <ac:graphicFrameMkLst>
            <pc:docMk/>
            <pc:sldMk cId="198724141" sldId="2146846091"/>
            <ac:graphicFrameMk id="2" creationId="{DABEA71B-03AC-48AD-8E3A-F5B4F36922D0}"/>
          </ac:graphicFrameMkLst>
        </pc:graphicFrameChg>
      </pc:sldChg>
      <pc:sldChg chg="modSp add">
        <pc:chgData name="Katerine Schifino" userId="37bb67de-9fcf-4611-888c-7e5b58184a2a" providerId="ADAL" clId="{492CA766-37C7-49E7-917E-99FEE8BB3045}" dt="2022-03-09T16:25:49.914" v="2817"/>
        <pc:sldMkLst>
          <pc:docMk/>
          <pc:sldMk cId="1165044527" sldId="2146846092"/>
        </pc:sldMkLst>
        <pc:graphicFrameChg chg="mod">
          <ac:chgData name="Katerine Schifino" userId="37bb67de-9fcf-4611-888c-7e5b58184a2a" providerId="ADAL" clId="{492CA766-37C7-49E7-917E-99FEE8BB3045}" dt="2022-03-09T16:25:49.914" v="2817"/>
          <ac:graphicFrameMkLst>
            <pc:docMk/>
            <pc:sldMk cId="1165044527" sldId="2146846092"/>
            <ac:graphicFrameMk id="2" creationId="{DABEA71B-03AC-48AD-8E3A-F5B4F36922D0}"/>
          </ac:graphicFrameMkLst>
        </pc:graphicFrameChg>
      </pc:sldChg>
      <pc:sldChg chg="addSp delSp modSp add mod">
        <pc:chgData name="Katerine Schifino" userId="37bb67de-9fcf-4611-888c-7e5b58184a2a" providerId="ADAL" clId="{492CA766-37C7-49E7-917E-99FEE8BB3045}" dt="2022-03-09T17:43:27.120" v="2940" actId="164"/>
        <pc:sldMkLst>
          <pc:docMk/>
          <pc:sldMk cId="996753462" sldId="2146846093"/>
        </pc:sldMkLst>
        <pc:spChg chg="del mod">
          <ac:chgData name="Katerine Schifino" userId="37bb67de-9fcf-4611-888c-7e5b58184a2a" providerId="ADAL" clId="{492CA766-37C7-49E7-917E-99FEE8BB3045}" dt="2022-03-09T17:38:46.056" v="2853" actId="478"/>
          <ac:spMkLst>
            <pc:docMk/>
            <pc:sldMk cId="996753462" sldId="2146846093"/>
            <ac:spMk id="8" creationId="{1D7C792A-CC12-479D-8BB8-7678A646EA6C}"/>
          </ac:spMkLst>
        </pc:spChg>
        <pc:spChg chg="del mod">
          <ac:chgData name="Katerine Schifino" userId="37bb67de-9fcf-4611-888c-7e5b58184a2a" providerId="ADAL" clId="{492CA766-37C7-49E7-917E-99FEE8BB3045}" dt="2022-03-09T17:38:48.247" v="2854" actId="478"/>
          <ac:spMkLst>
            <pc:docMk/>
            <pc:sldMk cId="996753462" sldId="2146846093"/>
            <ac:spMk id="11" creationId="{3851A96E-5BEA-49F6-AE48-7397556F5891}"/>
          </ac:spMkLst>
        </pc:spChg>
        <pc:spChg chg="mod topLvl">
          <ac:chgData name="Katerine Schifino" userId="37bb67de-9fcf-4611-888c-7e5b58184a2a" providerId="ADAL" clId="{492CA766-37C7-49E7-917E-99FEE8BB3045}" dt="2022-03-09T17:43:25.368" v="2939" actId="1038"/>
          <ac:spMkLst>
            <pc:docMk/>
            <pc:sldMk cId="996753462" sldId="2146846093"/>
            <ac:spMk id="15" creationId="{691A9BEF-640C-469B-8749-56C2FEB65340}"/>
          </ac:spMkLst>
        </pc:spChg>
        <pc:spChg chg="mod topLvl">
          <ac:chgData name="Katerine Schifino" userId="37bb67de-9fcf-4611-888c-7e5b58184a2a" providerId="ADAL" clId="{492CA766-37C7-49E7-917E-99FEE8BB3045}" dt="2022-03-09T17:43:25.368" v="2939" actId="1038"/>
          <ac:spMkLst>
            <pc:docMk/>
            <pc:sldMk cId="996753462" sldId="2146846093"/>
            <ac:spMk id="16" creationId="{5C1E48BA-319A-46FE-AD4D-EE9089AE53C8}"/>
          </ac:spMkLst>
        </pc:spChg>
        <pc:spChg chg="mod topLvl">
          <ac:chgData name="Katerine Schifino" userId="37bb67de-9fcf-4611-888c-7e5b58184a2a" providerId="ADAL" clId="{492CA766-37C7-49E7-917E-99FEE8BB3045}" dt="2022-03-09T17:43:25.368" v="2939" actId="1038"/>
          <ac:spMkLst>
            <pc:docMk/>
            <pc:sldMk cId="996753462" sldId="2146846093"/>
            <ac:spMk id="17" creationId="{FF77C336-C7D1-4485-8108-03064933CD75}"/>
          </ac:spMkLst>
        </pc:spChg>
        <pc:spChg chg="mod topLvl">
          <ac:chgData name="Katerine Schifino" userId="37bb67de-9fcf-4611-888c-7e5b58184a2a" providerId="ADAL" clId="{492CA766-37C7-49E7-917E-99FEE8BB3045}" dt="2022-03-09T17:43:25.368" v="2939" actId="1038"/>
          <ac:spMkLst>
            <pc:docMk/>
            <pc:sldMk cId="996753462" sldId="2146846093"/>
            <ac:spMk id="18" creationId="{624147BD-B1E0-4DB3-93A0-BC1D277441F2}"/>
          </ac:spMkLst>
        </pc:spChg>
        <pc:spChg chg="mod ord topLvl">
          <ac:chgData name="Katerine Schifino" userId="37bb67de-9fcf-4611-888c-7e5b58184a2a" providerId="ADAL" clId="{492CA766-37C7-49E7-917E-99FEE8BB3045}" dt="2022-03-09T17:43:25.368" v="2939" actId="1038"/>
          <ac:spMkLst>
            <pc:docMk/>
            <pc:sldMk cId="996753462" sldId="2146846093"/>
            <ac:spMk id="20" creationId="{2D2C9E22-4796-41C6-81A9-E3D0FD229542}"/>
          </ac:spMkLst>
        </pc:spChg>
        <pc:spChg chg="mod topLvl">
          <ac:chgData name="Katerine Schifino" userId="37bb67de-9fcf-4611-888c-7e5b58184a2a" providerId="ADAL" clId="{492CA766-37C7-49E7-917E-99FEE8BB3045}" dt="2022-03-09T17:43:25.368" v="2939" actId="1038"/>
          <ac:spMkLst>
            <pc:docMk/>
            <pc:sldMk cId="996753462" sldId="2146846093"/>
            <ac:spMk id="40" creationId="{BB488A38-8730-4291-8B98-A3DD4C97632E}"/>
          </ac:spMkLst>
        </pc:spChg>
        <pc:spChg chg="del mod">
          <ac:chgData name="Katerine Schifino" userId="37bb67de-9fcf-4611-888c-7e5b58184a2a" providerId="ADAL" clId="{492CA766-37C7-49E7-917E-99FEE8BB3045}" dt="2022-03-09T17:38:42.056" v="2852" actId="478"/>
          <ac:spMkLst>
            <pc:docMk/>
            <pc:sldMk cId="996753462" sldId="2146846093"/>
            <ac:spMk id="42" creationId="{19380C9B-01AE-4F68-9C5E-929D539D9599}"/>
          </ac:spMkLst>
        </pc:spChg>
        <pc:spChg chg="mod">
          <ac:chgData name="Katerine Schifino" userId="37bb67de-9fcf-4611-888c-7e5b58184a2a" providerId="ADAL" clId="{492CA766-37C7-49E7-917E-99FEE8BB3045}" dt="2022-03-09T17:38:00.524" v="2840" actId="1076"/>
          <ac:spMkLst>
            <pc:docMk/>
            <pc:sldMk cId="996753462" sldId="2146846093"/>
            <ac:spMk id="48" creationId="{8D585562-C461-46DC-8951-D37959777502}"/>
          </ac:spMkLst>
        </pc:spChg>
        <pc:spChg chg="mod">
          <ac:chgData name="Katerine Schifino" userId="37bb67de-9fcf-4611-888c-7e5b58184a2a" providerId="ADAL" clId="{492CA766-37C7-49E7-917E-99FEE8BB3045}" dt="2022-03-09T17:43:25.368" v="2939" actId="1038"/>
          <ac:spMkLst>
            <pc:docMk/>
            <pc:sldMk cId="996753462" sldId="2146846093"/>
            <ac:spMk id="50" creationId="{B8281D74-70C2-440F-8DA8-BC831A43DB9B}"/>
          </ac:spMkLst>
        </pc:spChg>
        <pc:spChg chg="mod">
          <ac:chgData name="Katerine Schifino" userId="37bb67de-9fcf-4611-888c-7e5b58184a2a" providerId="ADAL" clId="{492CA766-37C7-49E7-917E-99FEE8BB3045}" dt="2022-03-09T17:43:25.368" v="2939" actId="1038"/>
          <ac:spMkLst>
            <pc:docMk/>
            <pc:sldMk cId="996753462" sldId="2146846093"/>
            <ac:spMk id="51" creationId="{7B6CB61C-89AF-47FC-97F7-C868A88EBCCE}"/>
          </ac:spMkLst>
        </pc:spChg>
        <pc:spChg chg="mod">
          <ac:chgData name="Katerine Schifino" userId="37bb67de-9fcf-4611-888c-7e5b58184a2a" providerId="ADAL" clId="{492CA766-37C7-49E7-917E-99FEE8BB3045}" dt="2022-03-09T17:43:25.368" v="2939" actId="1038"/>
          <ac:spMkLst>
            <pc:docMk/>
            <pc:sldMk cId="996753462" sldId="2146846093"/>
            <ac:spMk id="52" creationId="{E4DCC4C1-460C-44DF-A5A9-03450A62099B}"/>
          </ac:spMkLst>
        </pc:spChg>
        <pc:spChg chg="mod">
          <ac:chgData name="Katerine Schifino" userId="37bb67de-9fcf-4611-888c-7e5b58184a2a" providerId="ADAL" clId="{492CA766-37C7-49E7-917E-99FEE8BB3045}" dt="2022-03-09T17:43:25.368" v="2939" actId="1038"/>
          <ac:spMkLst>
            <pc:docMk/>
            <pc:sldMk cId="996753462" sldId="2146846093"/>
            <ac:spMk id="53" creationId="{F341D6D9-C484-4FB1-8544-CE238FD54DF3}"/>
          </ac:spMkLst>
        </pc:spChg>
        <pc:spChg chg="mod">
          <ac:chgData name="Katerine Schifino" userId="37bb67de-9fcf-4611-888c-7e5b58184a2a" providerId="ADAL" clId="{492CA766-37C7-49E7-917E-99FEE8BB3045}" dt="2022-03-09T17:43:25.368" v="2939" actId="1038"/>
          <ac:spMkLst>
            <pc:docMk/>
            <pc:sldMk cId="996753462" sldId="2146846093"/>
            <ac:spMk id="54" creationId="{6B93FF64-B001-4037-9ABE-042BF575205A}"/>
          </ac:spMkLst>
        </pc:spChg>
        <pc:spChg chg="mod">
          <ac:chgData name="Katerine Schifino" userId="37bb67de-9fcf-4611-888c-7e5b58184a2a" providerId="ADAL" clId="{492CA766-37C7-49E7-917E-99FEE8BB3045}" dt="2022-03-09T17:43:25.368" v="2939" actId="1038"/>
          <ac:spMkLst>
            <pc:docMk/>
            <pc:sldMk cId="996753462" sldId="2146846093"/>
            <ac:spMk id="55" creationId="{ACE49B91-D99B-4DE3-9FA4-BA329D18FE31}"/>
          </ac:spMkLst>
        </pc:spChg>
        <pc:grpChg chg="add mod">
          <ac:chgData name="Katerine Schifino" userId="37bb67de-9fcf-4611-888c-7e5b58184a2a" providerId="ADAL" clId="{492CA766-37C7-49E7-917E-99FEE8BB3045}" dt="2022-03-09T17:43:27.120" v="2940" actId="164"/>
          <ac:grpSpMkLst>
            <pc:docMk/>
            <pc:sldMk cId="996753462" sldId="2146846093"/>
            <ac:grpSpMk id="2" creationId="{03D9F298-44D4-4491-9A0B-06C83268D986}"/>
          </ac:grpSpMkLst>
        </pc:grpChg>
        <pc:grpChg chg="add mod">
          <ac:chgData name="Katerine Schifino" userId="37bb67de-9fcf-4611-888c-7e5b58184a2a" providerId="ADAL" clId="{492CA766-37C7-49E7-917E-99FEE8BB3045}" dt="2022-03-09T17:43:27.120" v="2940" actId="164"/>
          <ac:grpSpMkLst>
            <pc:docMk/>
            <pc:sldMk cId="996753462" sldId="2146846093"/>
            <ac:grpSpMk id="3" creationId="{36D7576F-839E-4440-BD2D-A289DF140FE3}"/>
          </ac:grpSpMkLst>
        </pc:grpChg>
        <pc:grpChg chg="del mod topLvl">
          <ac:chgData name="Katerine Schifino" userId="37bb67de-9fcf-4611-888c-7e5b58184a2a" providerId="ADAL" clId="{492CA766-37C7-49E7-917E-99FEE8BB3045}" dt="2022-03-09T17:39:45.447" v="2867" actId="165"/>
          <ac:grpSpMkLst>
            <pc:docMk/>
            <pc:sldMk cId="996753462" sldId="2146846093"/>
            <ac:grpSpMk id="33" creationId="{69F6D422-536D-4A70-AD74-209484933C9B}"/>
          </ac:grpSpMkLst>
        </pc:grpChg>
        <pc:grpChg chg="del mod">
          <ac:chgData name="Katerine Schifino" userId="37bb67de-9fcf-4611-888c-7e5b58184a2a" providerId="ADAL" clId="{492CA766-37C7-49E7-917E-99FEE8BB3045}" dt="2022-03-09T17:37:56.596" v="2838" actId="165"/>
          <ac:grpSpMkLst>
            <pc:docMk/>
            <pc:sldMk cId="996753462" sldId="2146846093"/>
            <ac:grpSpMk id="35" creationId="{2450AB95-9CC3-42DF-8DB8-B20E2C47791B}"/>
          </ac:grpSpMkLst>
        </pc:grpChg>
        <pc:grpChg chg="del mod topLvl">
          <ac:chgData name="Katerine Schifino" userId="37bb67de-9fcf-4611-888c-7e5b58184a2a" providerId="ADAL" clId="{492CA766-37C7-49E7-917E-99FEE8BB3045}" dt="2022-03-09T17:40:13.346" v="2869" actId="165"/>
          <ac:grpSpMkLst>
            <pc:docMk/>
            <pc:sldMk cId="996753462" sldId="2146846093"/>
            <ac:grpSpMk id="41" creationId="{2A5EA2E2-75B7-471C-A88D-716B79676EA2}"/>
          </ac:grpSpMkLst>
        </pc:grpChg>
        <pc:grpChg chg="del mod">
          <ac:chgData name="Katerine Schifino" userId="37bb67de-9fcf-4611-888c-7e5b58184a2a" providerId="ADAL" clId="{492CA766-37C7-49E7-917E-99FEE8BB3045}" dt="2022-03-09T17:38:42.056" v="2852" actId="478"/>
          <ac:grpSpMkLst>
            <pc:docMk/>
            <pc:sldMk cId="996753462" sldId="2146846093"/>
            <ac:grpSpMk id="45" creationId="{DD6B3569-7EE4-441B-B5B3-5E06AE9395FE}"/>
          </ac:grpSpMkLst>
        </pc:grpChg>
        <pc:grpChg chg="mod ord">
          <ac:chgData name="Katerine Schifino" userId="37bb67de-9fcf-4611-888c-7e5b58184a2a" providerId="ADAL" clId="{492CA766-37C7-49E7-917E-99FEE8BB3045}" dt="2022-03-09T17:43:25.368" v="2939" actId="1038"/>
          <ac:grpSpMkLst>
            <pc:docMk/>
            <pc:sldMk cId="996753462" sldId="2146846093"/>
            <ac:grpSpMk id="49" creationId="{D5DEE41B-B348-4288-BB23-0EFD2CE517AA}"/>
          </ac:grpSpMkLst>
        </pc:grpChg>
        <pc:picChg chg="mod topLvl">
          <ac:chgData name="Katerine Schifino" userId="37bb67de-9fcf-4611-888c-7e5b58184a2a" providerId="ADAL" clId="{492CA766-37C7-49E7-917E-99FEE8BB3045}" dt="2022-03-09T17:43:27.120" v="2940" actId="164"/>
          <ac:picMkLst>
            <pc:docMk/>
            <pc:sldMk cId="996753462" sldId="2146846093"/>
            <ac:picMk id="27" creationId="{82004687-F9E8-46A0-93AB-1F6B282455DE}"/>
          </ac:picMkLst>
        </pc:picChg>
        <pc:picChg chg="mod topLvl">
          <ac:chgData name="Katerine Schifino" userId="37bb67de-9fcf-4611-888c-7e5b58184a2a" providerId="ADAL" clId="{492CA766-37C7-49E7-917E-99FEE8BB3045}" dt="2022-03-09T17:43:27.120" v="2940" actId="164"/>
          <ac:picMkLst>
            <pc:docMk/>
            <pc:sldMk cId="996753462" sldId="2146846093"/>
            <ac:picMk id="2050" creationId="{4B4B20DA-CFC1-4B05-9CE7-8473FAEC8D91}"/>
          </ac:picMkLst>
        </pc:picChg>
        <pc:cxnChg chg="del mod">
          <ac:chgData name="Katerine Schifino" userId="37bb67de-9fcf-4611-888c-7e5b58184a2a" providerId="ADAL" clId="{492CA766-37C7-49E7-917E-99FEE8BB3045}" dt="2022-03-09T17:38:50.436" v="2855" actId="478"/>
          <ac:cxnSpMkLst>
            <pc:docMk/>
            <pc:sldMk cId="996753462" sldId="2146846093"/>
            <ac:cxnSpMk id="22" creationId="{A4B1105F-EB80-47DC-9E10-7E951DF1CA8F}"/>
          </ac:cxnSpMkLst>
        </pc:cxnChg>
        <pc:cxnChg chg="del mod">
          <ac:chgData name="Katerine Schifino" userId="37bb67de-9fcf-4611-888c-7e5b58184a2a" providerId="ADAL" clId="{492CA766-37C7-49E7-917E-99FEE8BB3045}" dt="2022-03-09T17:38:52.808" v="2856" actId="478"/>
          <ac:cxnSpMkLst>
            <pc:docMk/>
            <pc:sldMk cId="996753462" sldId="2146846093"/>
            <ac:cxnSpMk id="24" creationId="{D4D6551A-11D7-48DA-8579-96516871FAA8}"/>
          </ac:cxnSpMkLst>
        </pc:cxnChg>
        <pc:cxnChg chg="del mod">
          <ac:chgData name="Katerine Schifino" userId="37bb67de-9fcf-4611-888c-7e5b58184a2a" providerId="ADAL" clId="{492CA766-37C7-49E7-917E-99FEE8BB3045}" dt="2022-03-09T17:38:55.546" v="2857" actId="478"/>
          <ac:cxnSpMkLst>
            <pc:docMk/>
            <pc:sldMk cId="996753462" sldId="2146846093"/>
            <ac:cxnSpMk id="26" creationId="{25485FDE-63EE-4C61-B512-648078940060}"/>
          </ac:cxnSpMkLst>
        </pc:cxnChg>
        <pc:cxnChg chg="del mod">
          <ac:chgData name="Katerine Schifino" userId="37bb67de-9fcf-4611-888c-7e5b58184a2a" providerId="ADAL" clId="{492CA766-37C7-49E7-917E-99FEE8BB3045}" dt="2022-03-09T17:38:57.726" v="2858" actId="478"/>
          <ac:cxnSpMkLst>
            <pc:docMk/>
            <pc:sldMk cId="996753462" sldId="2146846093"/>
            <ac:cxnSpMk id="29" creationId="{FE99AAB1-A30D-42D5-95C3-37DF300A0733}"/>
          </ac:cxnSpMkLst>
        </pc:cxnChg>
        <pc:cxnChg chg="del mod">
          <ac:chgData name="Katerine Schifino" userId="37bb67de-9fcf-4611-888c-7e5b58184a2a" providerId="ADAL" clId="{492CA766-37C7-49E7-917E-99FEE8BB3045}" dt="2022-03-09T17:39:00.276" v="2859" actId="478"/>
          <ac:cxnSpMkLst>
            <pc:docMk/>
            <pc:sldMk cId="996753462" sldId="2146846093"/>
            <ac:cxnSpMk id="34" creationId="{324139A5-BAEC-4729-8353-4D68B5552021}"/>
          </ac:cxnSpMkLst>
        </pc:cxnChg>
        <pc:cxnChg chg="del mod">
          <ac:chgData name="Katerine Schifino" userId="37bb67de-9fcf-4611-888c-7e5b58184a2a" providerId="ADAL" clId="{492CA766-37C7-49E7-917E-99FEE8BB3045}" dt="2022-03-09T17:39:02.728" v="2860" actId="478"/>
          <ac:cxnSpMkLst>
            <pc:docMk/>
            <pc:sldMk cId="996753462" sldId="2146846093"/>
            <ac:cxnSpMk id="36" creationId="{3113F515-4AF6-49AF-9B19-0FD47AFD3ABC}"/>
          </ac:cxnSpMkLst>
        </pc:cxnChg>
      </pc:sldChg>
      <pc:sldChg chg="add">
        <pc:chgData name="Katerine Schifino" userId="37bb67de-9fcf-4611-888c-7e5b58184a2a" providerId="ADAL" clId="{492CA766-37C7-49E7-917E-99FEE8BB3045}" dt="2022-03-14T14:10:39.394" v="3957"/>
        <pc:sldMkLst>
          <pc:docMk/>
          <pc:sldMk cId="2732974769" sldId="2146846094"/>
        </pc:sldMkLst>
      </pc:sldChg>
    </pc:docChg>
  </pc:docChgLst>
  <pc:docChgLst>
    <pc:chgData name="Bianca Naomy" userId="abf68bbe-83b2-4c0b-9325-ce8a54e5fdae" providerId="ADAL" clId="{3F3AB1CD-0917-42A7-B7D6-2663540B048D}"/>
    <pc:docChg chg="undo redo custSel addSld delSld modSld sldOrd">
      <pc:chgData name="Bianca Naomy" userId="abf68bbe-83b2-4c0b-9325-ce8a54e5fdae" providerId="ADAL" clId="{3F3AB1CD-0917-42A7-B7D6-2663540B048D}" dt="2022-03-04T19:24:31.099" v="2506" actId="14100"/>
      <pc:docMkLst>
        <pc:docMk/>
      </pc:docMkLst>
      <pc:sldChg chg="addSp new del mod">
        <pc:chgData name="Bianca Naomy" userId="abf68bbe-83b2-4c0b-9325-ce8a54e5fdae" providerId="ADAL" clId="{3F3AB1CD-0917-42A7-B7D6-2663540B048D}" dt="2022-03-03T13:22:28.974" v="76" actId="47"/>
        <pc:sldMkLst>
          <pc:docMk/>
          <pc:sldMk cId="3057103668" sldId="2146846070"/>
        </pc:sldMkLst>
        <pc:picChg chg="add">
          <ac:chgData name="Bianca Naomy" userId="abf68bbe-83b2-4c0b-9325-ce8a54e5fdae" providerId="ADAL" clId="{3F3AB1CD-0917-42A7-B7D6-2663540B048D}" dt="2022-03-03T12:43:28.628" v="1" actId="22"/>
          <ac:picMkLst>
            <pc:docMk/>
            <pc:sldMk cId="3057103668" sldId="2146846070"/>
            <ac:picMk id="4" creationId="{7C4EED0C-7AE2-42B6-B196-33D8FEACC93D}"/>
          </ac:picMkLst>
        </pc:picChg>
      </pc:sldChg>
      <pc:sldChg chg="addSp delSp modSp new mod ord">
        <pc:chgData name="Bianca Naomy" userId="abf68bbe-83b2-4c0b-9325-ce8a54e5fdae" providerId="ADAL" clId="{3F3AB1CD-0917-42A7-B7D6-2663540B048D}" dt="2022-03-04T13:56:28.625" v="2080" actId="21"/>
        <pc:sldMkLst>
          <pc:docMk/>
          <pc:sldMk cId="4180197559" sldId="2146846071"/>
        </pc:sldMkLst>
        <pc:spChg chg="add mod">
          <ac:chgData name="Bianca Naomy" userId="abf68bbe-83b2-4c0b-9325-ce8a54e5fdae" providerId="ADAL" clId="{3F3AB1CD-0917-42A7-B7D6-2663540B048D}" dt="2022-03-03T13:35:12.401" v="116" actId="20577"/>
          <ac:spMkLst>
            <pc:docMk/>
            <pc:sldMk cId="4180197559" sldId="2146846071"/>
            <ac:spMk id="3" creationId="{D27D7BD4-79A4-4F74-AEDD-B6DF3D38FA7F}"/>
          </ac:spMkLst>
        </pc:spChg>
        <pc:spChg chg="add mod">
          <ac:chgData name="Bianca Naomy" userId="abf68bbe-83b2-4c0b-9325-ce8a54e5fdae" providerId="ADAL" clId="{3F3AB1CD-0917-42A7-B7D6-2663540B048D}" dt="2022-03-03T20:12:11.808" v="1407" actId="14100"/>
          <ac:spMkLst>
            <pc:docMk/>
            <pc:sldMk cId="4180197559" sldId="2146846071"/>
            <ac:spMk id="4" creationId="{7504F8EF-3D40-4067-9FEF-5028299DDC11}"/>
          </ac:spMkLst>
        </pc:spChg>
        <pc:spChg chg="add mod">
          <ac:chgData name="Bianca Naomy" userId="abf68bbe-83b2-4c0b-9325-ce8a54e5fdae" providerId="ADAL" clId="{3F3AB1CD-0917-42A7-B7D6-2663540B048D}" dt="2022-03-03T20:12:16.037" v="1409" actId="1076"/>
          <ac:spMkLst>
            <pc:docMk/>
            <pc:sldMk cId="4180197559" sldId="2146846071"/>
            <ac:spMk id="5" creationId="{D9850037-D7A2-457D-9ADB-F7F097BCB3B1}"/>
          </ac:spMkLst>
        </pc:spChg>
        <pc:spChg chg="add del mod">
          <ac:chgData name="Bianca Naomy" userId="abf68bbe-83b2-4c0b-9325-ce8a54e5fdae" providerId="ADAL" clId="{3F3AB1CD-0917-42A7-B7D6-2663540B048D}" dt="2022-03-03T20:52:51.744" v="1712" actId="478"/>
          <ac:spMkLst>
            <pc:docMk/>
            <pc:sldMk cId="4180197559" sldId="2146846071"/>
            <ac:spMk id="6" creationId="{3AB26AD5-1E43-44D0-A679-44D49EF8AA49}"/>
          </ac:spMkLst>
        </pc:spChg>
        <pc:spChg chg="add mod">
          <ac:chgData name="Bianca Naomy" userId="abf68bbe-83b2-4c0b-9325-ce8a54e5fdae" providerId="ADAL" clId="{3F3AB1CD-0917-42A7-B7D6-2663540B048D}" dt="2022-03-03T20:11:58.363" v="1406" actId="14100"/>
          <ac:spMkLst>
            <pc:docMk/>
            <pc:sldMk cId="4180197559" sldId="2146846071"/>
            <ac:spMk id="7" creationId="{0E90C0D4-D0BD-45D6-BBF0-7A575360FB1A}"/>
          </ac:spMkLst>
        </pc:spChg>
        <pc:spChg chg="add del mod">
          <ac:chgData name="Bianca Naomy" userId="abf68bbe-83b2-4c0b-9325-ce8a54e5fdae" providerId="ADAL" clId="{3F3AB1CD-0917-42A7-B7D6-2663540B048D}" dt="2022-03-04T12:58:58.641" v="1792"/>
          <ac:spMkLst>
            <pc:docMk/>
            <pc:sldMk cId="4180197559" sldId="2146846071"/>
            <ac:spMk id="9" creationId="{D6CFA3F3-047A-4E73-9D8A-D29542D70083}"/>
          </ac:spMkLst>
        </pc:spChg>
        <pc:spChg chg="add mod">
          <ac:chgData name="Bianca Naomy" userId="abf68bbe-83b2-4c0b-9325-ce8a54e5fdae" providerId="ADAL" clId="{3F3AB1CD-0917-42A7-B7D6-2663540B048D}" dt="2022-03-04T13:02:12.841" v="1833" actId="1076"/>
          <ac:spMkLst>
            <pc:docMk/>
            <pc:sldMk cId="4180197559" sldId="2146846071"/>
            <ac:spMk id="10" creationId="{A5B12F80-DF72-4288-96C7-59EB50B81B32}"/>
          </ac:spMkLst>
        </pc:spChg>
        <pc:spChg chg="add del mod">
          <ac:chgData name="Bianca Naomy" userId="abf68bbe-83b2-4c0b-9325-ce8a54e5fdae" providerId="ADAL" clId="{3F3AB1CD-0917-42A7-B7D6-2663540B048D}" dt="2022-03-04T12:57:08.555" v="1747" actId="478"/>
          <ac:spMkLst>
            <pc:docMk/>
            <pc:sldMk cId="4180197559" sldId="2146846071"/>
            <ac:spMk id="11" creationId="{1D421913-A0F5-4E4A-8C8D-8CBBFFE0560F}"/>
          </ac:spMkLst>
        </pc:spChg>
        <pc:spChg chg="add mod">
          <ac:chgData name="Bianca Naomy" userId="abf68bbe-83b2-4c0b-9325-ce8a54e5fdae" providerId="ADAL" clId="{3F3AB1CD-0917-42A7-B7D6-2663540B048D}" dt="2022-03-03T20:12:19.994" v="1410" actId="1076"/>
          <ac:spMkLst>
            <pc:docMk/>
            <pc:sldMk cId="4180197559" sldId="2146846071"/>
            <ac:spMk id="12" creationId="{1503C958-514F-4ADD-B389-5EE838BE0E8D}"/>
          </ac:spMkLst>
        </pc:spChg>
        <pc:spChg chg="add del mod">
          <ac:chgData name="Bianca Naomy" userId="abf68bbe-83b2-4c0b-9325-ce8a54e5fdae" providerId="ADAL" clId="{3F3AB1CD-0917-42A7-B7D6-2663540B048D}" dt="2022-03-04T13:56:28.625" v="2080" actId="21"/>
          <ac:spMkLst>
            <pc:docMk/>
            <pc:sldMk cId="4180197559" sldId="2146846071"/>
            <ac:spMk id="13" creationId="{A56B2EE7-2DBD-4A3B-A6FD-8C53789A3B10}"/>
          </ac:spMkLst>
        </pc:spChg>
        <pc:spChg chg="add del mod">
          <ac:chgData name="Bianca Naomy" userId="abf68bbe-83b2-4c0b-9325-ce8a54e5fdae" providerId="ADAL" clId="{3F3AB1CD-0917-42A7-B7D6-2663540B048D}" dt="2022-03-03T20:18:27.033" v="1480" actId="478"/>
          <ac:spMkLst>
            <pc:docMk/>
            <pc:sldMk cId="4180197559" sldId="2146846071"/>
            <ac:spMk id="13" creationId="{F314461F-FF70-4FDD-A741-B502C4495A9E}"/>
          </ac:spMkLst>
        </pc:spChg>
        <pc:spChg chg="add del mod">
          <ac:chgData name="Bianca Naomy" userId="abf68bbe-83b2-4c0b-9325-ce8a54e5fdae" providerId="ADAL" clId="{3F3AB1CD-0917-42A7-B7D6-2663540B048D}" dt="2022-03-04T12:58:58.639" v="1790" actId="478"/>
          <ac:spMkLst>
            <pc:docMk/>
            <pc:sldMk cId="4180197559" sldId="2146846071"/>
            <ac:spMk id="14" creationId="{D8765F51-A91F-41A2-BA58-C1866FD9464B}"/>
          </ac:spMkLst>
        </pc:spChg>
        <pc:spChg chg="add mod">
          <ac:chgData name="Bianca Naomy" userId="abf68bbe-83b2-4c0b-9325-ce8a54e5fdae" providerId="ADAL" clId="{3F3AB1CD-0917-42A7-B7D6-2663540B048D}" dt="2022-03-03T20:18:52.959" v="1482"/>
          <ac:spMkLst>
            <pc:docMk/>
            <pc:sldMk cId="4180197559" sldId="2146846071"/>
            <ac:spMk id="15" creationId="{F9729067-8D75-46DC-9DB1-D16553EDFB15}"/>
          </ac:spMkLst>
        </pc:spChg>
        <pc:picChg chg="add del mod">
          <ac:chgData name="Bianca Naomy" userId="abf68bbe-83b2-4c0b-9325-ce8a54e5fdae" providerId="ADAL" clId="{3F3AB1CD-0917-42A7-B7D6-2663540B048D}" dt="2022-03-03T13:35:14.439" v="117" actId="478"/>
          <ac:picMkLst>
            <pc:docMk/>
            <pc:sldMk cId="4180197559" sldId="2146846071"/>
            <ac:picMk id="2" creationId="{3A6E22DD-C012-4944-A95D-6B53D459499F}"/>
          </ac:picMkLst>
        </pc:picChg>
      </pc:sldChg>
      <pc:sldChg chg="addSp modSp new mod">
        <pc:chgData name="Bianca Naomy" userId="abf68bbe-83b2-4c0b-9325-ce8a54e5fdae" providerId="ADAL" clId="{3F3AB1CD-0917-42A7-B7D6-2663540B048D}" dt="2022-03-03T13:22:20.436" v="75" actId="20577"/>
        <pc:sldMkLst>
          <pc:docMk/>
          <pc:sldMk cId="861993220" sldId="2146846072"/>
        </pc:sldMkLst>
        <pc:spChg chg="add mod">
          <ac:chgData name="Bianca Naomy" userId="abf68bbe-83b2-4c0b-9325-ce8a54e5fdae" providerId="ADAL" clId="{3F3AB1CD-0917-42A7-B7D6-2663540B048D}" dt="2022-03-03T13:22:20.436" v="75" actId="20577"/>
          <ac:spMkLst>
            <pc:docMk/>
            <pc:sldMk cId="861993220" sldId="2146846072"/>
            <ac:spMk id="4" creationId="{3FEB7708-A218-44DF-B60A-E237B90FD547}"/>
          </ac:spMkLst>
        </pc:spChg>
        <pc:picChg chg="add mod">
          <ac:chgData name="Bianca Naomy" userId="abf68bbe-83b2-4c0b-9325-ce8a54e5fdae" providerId="ADAL" clId="{3F3AB1CD-0917-42A7-B7D6-2663540B048D}" dt="2022-03-03T13:21:59.037" v="36" actId="1076"/>
          <ac:picMkLst>
            <pc:docMk/>
            <pc:sldMk cId="861993220" sldId="2146846072"/>
            <ac:picMk id="3" creationId="{7168DB65-9732-4419-8B0E-975018FFAED8}"/>
          </ac:picMkLst>
        </pc:picChg>
      </pc:sldChg>
      <pc:sldChg chg="addSp delSp modSp add mod">
        <pc:chgData name="Bianca Naomy" userId="abf68bbe-83b2-4c0b-9325-ce8a54e5fdae" providerId="ADAL" clId="{3F3AB1CD-0917-42A7-B7D6-2663540B048D}" dt="2022-03-04T13:27:34.753" v="1937" actId="1076"/>
        <pc:sldMkLst>
          <pc:docMk/>
          <pc:sldMk cId="1248321786" sldId="2146846073"/>
        </pc:sldMkLst>
        <pc:graphicFrameChg chg="add del modGraphic">
          <ac:chgData name="Bianca Naomy" userId="abf68bbe-83b2-4c0b-9325-ce8a54e5fdae" providerId="ADAL" clId="{3F3AB1CD-0917-42A7-B7D6-2663540B048D}" dt="2022-03-03T13:34:55.427" v="79" actId="27309"/>
          <ac:graphicFrameMkLst>
            <pc:docMk/>
            <pc:sldMk cId="1248321786" sldId="2146846073"/>
            <ac:graphicFrameMk id="5" creationId="{F4DC2F1B-B72F-4E06-9AF9-171B1C5FD911}"/>
          </ac:graphicFrameMkLst>
        </pc:graphicFrameChg>
        <pc:picChg chg="mod">
          <ac:chgData name="Bianca Naomy" userId="abf68bbe-83b2-4c0b-9325-ce8a54e5fdae" providerId="ADAL" clId="{3F3AB1CD-0917-42A7-B7D6-2663540B048D}" dt="2022-03-04T13:27:34.753" v="1937" actId="1076"/>
          <ac:picMkLst>
            <pc:docMk/>
            <pc:sldMk cId="1248321786" sldId="2146846073"/>
            <ac:picMk id="2" creationId="{3A6E22DD-C012-4944-A95D-6B53D459499F}"/>
          </ac:picMkLst>
        </pc:picChg>
      </pc:sldChg>
      <pc:sldChg chg="addSp delSp modSp add mod">
        <pc:chgData name="Bianca Naomy" userId="abf68bbe-83b2-4c0b-9325-ce8a54e5fdae" providerId="ADAL" clId="{3F3AB1CD-0917-42A7-B7D6-2663540B048D}" dt="2022-03-03T19:11:36.625" v="971" actId="1076"/>
        <pc:sldMkLst>
          <pc:docMk/>
          <pc:sldMk cId="3012924003" sldId="2146846074"/>
        </pc:sldMkLst>
        <pc:spChg chg="mod">
          <ac:chgData name="Bianca Naomy" userId="abf68bbe-83b2-4c0b-9325-ce8a54e5fdae" providerId="ADAL" clId="{3F3AB1CD-0917-42A7-B7D6-2663540B048D}" dt="2022-03-03T13:59:03.143" v="158" actId="20577"/>
          <ac:spMkLst>
            <pc:docMk/>
            <pc:sldMk cId="3012924003" sldId="2146846074"/>
            <ac:spMk id="3" creationId="{D27D7BD4-79A4-4F74-AEDD-B6DF3D38FA7F}"/>
          </ac:spMkLst>
        </pc:spChg>
        <pc:spChg chg="mod">
          <ac:chgData name="Bianca Naomy" userId="abf68bbe-83b2-4c0b-9325-ce8a54e5fdae" providerId="ADAL" clId="{3F3AB1CD-0917-42A7-B7D6-2663540B048D}" dt="2022-03-03T19:11:14.488" v="968" actId="13926"/>
          <ac:spMkLst>
            <pc:docMk/>
            <pc:sldMk cId="3012924003" sldId="2146846074"/>
            <ac:spMk id="4" creationId="{7504F8EF-3D40-4067-9FEF-5028299DDC11}"/>
          </ac:spMkLst>
        </pc:spChg>
        <pc:spChg chg="del">
          <ac:chgData name="Bianca Naomy" userId="abf68bbe-83b2-4c0b-9325-ce8a54e5fdae" providerId="ADAL" clId="{3F3AB1CD-0917-42A7-B7D6-2663540B048D}" dt="2022-03-03T13:58:49.827" v="152" actId="478"/>
          <ac:spMkLst>
            <pc:docMk/>
            <pc:sldMk cId="3012924003" sldId="2146846074"/>
            <ac:spMk id="5" creationId="{D9850037-D7A2-457D-9ADB-F7F097BCB3B1}"/>
          </ac:spMkLst>
        </pc:spChg>
        <pc:spChg chg="add del mod">
          <ac:chgData name="Bianca Naomy" userId="abf68bbe-83b2-4c0b-9325-ce8a54e5fdae" providerId="ADAL" clId="{3F3AB1CD-0917-42A7-B7D6-2663540B048D}" dt="2022-03-03T14:07:39.376" v="196" actId="478"/>
          <ac:spMkLst>
            <pc:docMk/>
            <pc:sldMk cId="3012924003" sldId="2146846074"/>
            <ac:spMk id="6" creationId="{71A25CD7-6CCF-4E2A-9B2D-BB50E91B49CE}"/>
          </ac:spMkLst>
        </pc:spChg>
        <pc:spChg chg="add del mod">
          <ac:chgData name="Bianca Naomy" userId="abf68bbe-83b2-4c0b-9325-ce8a54e5fdae" providerId="ADAL" clId="{3F3AB1CD-0917-42A7-B7D6-2663540B048D}" dt="2022-03-03T14:09:45.136" v="200" actId="478"/>
          <ac:spMkLst>
            <pc:docMk/>
            <pc:sldMk cId="3012924003" sldId="2146846074"/>
            <ac:spMk id="7" creationId="{90D679BB-4EAC-4176-BF37-AEC430688F70}"/>
          </ac:spMkLst>
        </pc:spChg>
        <pc:spChg chg="add del mod">
          <ac:chgData name="Bianca Naomy" userId="abf68bbe-83b2-4c0b-9325-ce8a54e5fdae" providerId="ADAL" clId="{3F3AB1CD-0917-42A7-B7D6-2663540B048D}" dt="2022-03-03T14:14:33.038" v="281" actId="21"/>
          <ac:spMkLst>
            <pc:docMk/>
            <pc:sldMk cId="3012924003" sldId="2146846074"/>
            <ac:spMk id="10" creationId="{D1BB479B-912D-40FE-9194-9CBEE2F0D039}"/>
          </ac:spMkLst>
        </pc:spChg>
        <pc:spChg chg="add mod">
          <ac:chgData name="Bianca Naomy" userId="abf68bbe-83b2-4c0b-9325-ce8a54e5fdae" providerId="ADAL" clId="{3F3AB1CD-0917-42A7-B7D6-2663540B048D}" dt="2022-03-03T19:04:39.950" v="742" actId="403"/>
          <ac:spMkLst>
            <pc:docMk/>
            <pc:sldMk cId="3012924003" sldId="2146846074"/>
            <ac:spMk id="11" creationId="{B424CB56-823B-445C-9577-2CB6DDE1B33B}"/>
          </ac:spMkLst>
        </pc:spChg>
        <pc:spChg chg="add del mod">
          <ac:chgData name="Bianca Naomy" userId="abf68bbe-83b2-4c0b-9325-ce8a54e5fdae" providerId="ADAL" clId="{3F3AB1CD-0917-42A7-B7D6-2663540B048D}" dt="2022-03-03T19:05:28.440" v="748" actId="21"/>
          <ac:spMkLst>
            <pc:docMk/>
            <pc:sldMk cId="3012924003" sldId="2146846074"/>
            <ac:spMk id="12" creationId="{FD33B88A-A05A-4B52-8933-6CDB1C270F8B}"/>
          </ac:spMkLst>
        </pc:spChg>
        <pc:picChg chg="add del mod">
          <ac:chgData name="Bianca Naomy" userId="abf68bbe-83b2-4c0b-9325-ce8a54e5fdae" providerId="ADAL" clId="{3F3AB1CD-0917-42A7-B7D6-2663540B048D}" dt="2022-03-03T14:11:01.195" v="214" actId="478"/>
          <ac:picMkLst>
            <pc:docMk/>
            <pc:sldMk cId="3012924003" sldId="2146846074"/>
            <ac:picMk id="9" creationId="{31557504-39A4-4AF3-8021-311313937D70}"/>
          </ac:picMkLst>
        </pc:picChg>
        <pc:picChg chg="add mod">
          <ac:chgData name="Bianca Naomy" userId="abf68bbe-83b2-4c0b-9325-ce8a54e5fdae" providerId="ADAL" clId="{3F3AB1CD-0917-42A7-B7D6-2663540B048D}" dt="2022-03-03T19:11:36.625" v="971" actId="1076"/>
          <ac:picMkLst>
            <pc:docMk/>
            <pc:sldMk cId="3012924003" sldId="2146846074"/>
            <ac:picMk id="14" creationId="{8E5BFA40-0BCE-44A9-938F-7C22F35BAAEB}"/>
          </ac:picMkLst>
        </pc:picChg>
      </pc:sldChg>
      <pc:sldChg chg="addSp delSp modSp add mod modNotesTx">
        <pc:chgData name="Bianca Naomy" userId="abf68bbe-83b2-4c0b-9325-ce8a54e5fdae" providerId="ADAL" clId="{3F3AB1CD-0917-42A7-B7D6-2663540B048D}" dt="2022-03-03T14:36:10.896" v="741" actId="5793"/>
        <pc:sldMkLst>
          <pc:docMk/>
          <pc:sldMk cId="4122836090" sldId="2146846075"/>
        </pc:sldMkLst>
        <pc:spChg chg="del">
          <ac:chgData name="Bianca Naomy" userId="abf68bbe-83b2-4c0b-9325-ce8a54e5fdae" providerId="ADAL" clId="{3F3AB1CD-0917-42A7-B7D6-2663540B048D}" dt="2022-03-03T14:03:33.186" v="175" actId="478"/>
          <ac:spMkLst>
            <pc:docMk/>
            <pc:sldMk cId="4122836090" sldId="2146846075"/>
            <ac:spMk id="4" creationId="{7504F8EF-3D40-4067-9FEF-5028299DDC11}"/>
          </ac:spMkLst>
        </pc:spChg>
        <pc:spChg chg="del">
          <ac:chgData name="Bianca Naomy" userId="abf68bbe-83b2-4c0b-9325-ce8a54e5fdae" providerId="ADAL" clId="{3F3AB1CD-0917-42A7-B7D6-2663540B048D}" dt="2022-03-03T14:03:37.193" v="178" actId="478"/>
          <ac:spMkLst>
            <pc:docMk/>
            <pc:sldMk cId="4122836090" sldId="2146846075"/>
            <ac:spMk id="6" creationId="{71A25CD7-6CCF-4E2A-9B2D-BB50E91B49CE}"/>
          </ac:spMkLst>
        </pc:spChg>
        <pc:spChg chg="add mod">
          <ac:chgData name="Bianca Naomy" userId="abf68bbe-83b2-4c0b-9325-ce8a54e5fdae" providerId="ADAL" clId="{3F3AB1CD-0917-42A7-B7D6-2663540B048D}" dt="2022-03-03T14:18:42.994" v="335" actId="1076"/>
          <ac:spMkLst>
            <pc:docMk/>
            <pc:sldMk cId="4122836090" sldId="2146846075"/>
            <ac:spMk id="11" creationId="{F74AEC07-E85F-4073-8C19-F3127E279015}"/>
          </ac:spMkLst>
        </pc:spChg>
        <pc:spChg chg="add mod">
          <ac:chgData name="Bianca Naomy" userId="abf68bbe-83b2-4c0b-9325-ce8a54e5fdae" providerId="ADAL" clId="{3F3AB1CD-0917-42A7-B7D6-2663540B048D}" dt="2022-03-03T14:18:45.917" v="338" actId="20577"/>
          <ac:spMkLst>
            <pc:docMk/>
            <pc:sldMk cId="4122836090" sldId="2146846075"/>
            <ac:spMk id="12" creationId="{91CECFEF-FEFA-4593-A199-D8A9623C8C5B}"/>
          </ac:spMkLst>
        </pc:spChg>
        <pc:spChg chg="add mod">
          <ac:chgData name="Bianca Naomy" userId="abf68bbe-83b2-4c0b-9325-ce8a54e5fdae" providerId="ADAL" clId="{3F3AB1CD-0917-42A7-B7D6-2663540B048D}" dt="2022-03-03T14:18:00.113" v="309" actId="1076"/>
          <ac:spMkLst>
            <pc:docMk/>
            <pc:sldMk cId="4122836090" sldId="2146846075"/>
            <ac:spMk id="13" creationId="{0CC1DEC0-02FA-4074-9C99-500B9CED8FE2}"/>
          </ac:spMkLst>
        </pc:spChg>
        <pc:picChg chg="add mod modCrop">
          <ac:chgData name="Bianca Naomy" userId="abf68bbe-83b2-4c0b-9325-ce8a54e5fdae" providerId="ADAL" clId="{3F3AB1CD-0917-42A7-B7D6-2663540B048D}" dt="2022-03-03T14:17:01.861" v="298" actId="1076"/>
          <ac:picMkLst>
            <pc:docMk/>
            <pc:sldMk cId="4122836090" sldId="2146846075"/>
            <ac:picMk id="5" creationId="{D8722CF6-3ED7-4398-AB7D-8776BF3E6FC1}"/>
          </ac:picMkLst>
        </pc:picChg>
        <pc:picChg chg="add mod">
          <ac:chgData name="Bianca Naomy" userId="abf68bbe-83b2-4c0b-9325-ce8a54e5fdae" providerId="ADAL" clId="{3F3AB1CD-0917-42A7-B7D6-2663540B048D}" dt="2022-03-03T14:17:10.673" v="303" actId="1076"/>
          <ac:picMkLst>
            <pc:docMk/>
            <pc:sldMk cId="4122836090" sldId="2146846075"/>
            <ac:picMk id="8" creationId="{59B7F028-0E95-4751-B4F9-07517E7E2491}"/>
          </ac:picMkLst>
        </pc:picChg>
        <pc:picChg chg="add mod">
          <ac:chgData name="Bianca Naomy" userId="abf68bbe-83b2-4c0b-9325-ce8a54e5fdae" providerId="ADAL" clId="{3F3AB1CD-0917-42A7-B7D6-2663540B048D}" dt="2022-03-03T14:16:59.987" v="297" actId="1076"/>
          <ac:picMkLst>
            <pc:docMk/>
            <pc:sldMk cId="4122836090" sldId="2146846075"/>
            <ac:picMk id="10" creationId="{846E2FC0-77AB-42F1-8A0F-2DFD6764B5D6}"/>
          </ac:picMkLst>
        </pc:picChg>
      </pc:sldChg>
      <pc:sldChg chg="addSp delSp modSp add mod">
        <pc:chgData name="Bianca Naomy" userId="abf68bbe-83b2-4c0b-9325-ce8a54e5fdae" providerId="ADAL" clId="{3F3AB1CD-0917-42A7-B7D6-2663540B048D}" dt="2022-03-03T19:13:15.489" v="1017" actId="1076"/>
        <pc:sldMkLst>
          <pc:docMk/>
          <pc:sldMk cId="1404460967" sldId="2146846076"/>
        </pc:sldMkLst>
        <pc:spChg chg="del">
          <ac:chgData name="Bianca Naomy" userId="abf68bbe-83b2-4c0b-9325-ce8a54e5fdae" providerId="ADAL" clId="{3F3AB1CD-0917-42A7-B7D6-2663540B048D}" dt="2022-03-03T14:07:32.698" v="194" actId="478"/>
          <ac:spMkLst>
            <pc:docMk/>
            <pc:sldMk cId="1404460967" sldId="2146846076"/>
            <ac:spMk id="4" creationId="{7504F8EF-3D40-4067-9FEF-5028299DDC11}"/>
          </ac:spMkLst>
        </pc:spChg>
        <pc:spChg chg="mod">
          <ac:chgData name="Bianca Naomy" userId="abf68bbe-83b2-4c0b-9325-ce8a54e5fdae" providerId="ADAL" clId="{3F3AB1CD-0917-42A7-B7D6-2663540B048D}" dt="2022-03-03T19:12:04.641" v="995" actId="1076"/>
          <ac:spMkLst>
            <pc:docMk/>
            <pc:sldMk cId="1404460967" sldId="2146846076"/>
            <ac:spMk id="6" creationId="{71A25CD7-6CCF-4E2A-9B2D-BB50E91B49CE}"/>
          </ac:spMkLst>
        </pc:spChg>
        <pc:spChg chg="add mod">
          <ac:chgData name="Bianca Naomy" userId="abf68bbe-83b2-4c0b-9325-ce8a54e5fdae" providerId="ADAL" clId="{3F3AB1CD-0917-42A7-B7D6-2663540B048D}" dt="2022-03-03T19:12:27.867" v="1013" actId="20577"/>
          <ac:spMkLst>
            <pc:docMk/>
            <pc:sldMk cId="1404460967" sldId="2146846076"/>
            <ac:spMk id="19" creationId="{2A37B2C1-EC96-4DAE-9234-FCB90C5F3AA4}"/>
          </ac:spMkLst>
        </pc:spChg>
        <pc:picChg chg="add mod">
          <ac:chgData name="Bianca Naomy" userId="abf68bbe-83b2-4c0b-9325-ce8a54e5fdae" providerId="ADAL" clId="{3F3AB1CD-0917-42A7-B7D6-2663540B048D}" dt="2022-03-03T19:12:04.641" v="995" actId="1076"/>
          <ac:picMkLst>
            <pc:docMk/>
            <pc:sldMk cId="1404460967" sldId="2146846076"/>
            <ac:picMk id="5" creationId="{811F8E85-77A5-4D98-AD38-895E6E8EFBEE}"/>
          </ac:picMkLst>
        </pc:picChg>
        <pc:picChg chg="add mod">
          <ac:chgData name="Bianca Naomy" userId="abf68bbe-83b2-4c0b-9325-ce8a54e5fdae" providerId="ADAL" clId="{3F3AB1CD-0917-42A7-B7D6-2663540B048D}" dt="2022-03-03T19:12:04.641" v="995" actId="1076"/>
          <ac:picMkLst>
            <pc:docMk/>
            <pc:sldMk cId="1404460967" sldId="2146846076"/>
            <ac:picMk id="8" creationId="{85302F0A-E4AF-4909-B628-B62708D9C850}"/>
          </ac:picMkLst>
        </pc:picChg>
        <pc:picChg chg="add mod">
          <ac:chgData name="Bianca Naomy" userId="abf68bbe-83b2-4c0b-9325-ce8a54e5fdae" providerId="ADAL" clId="{3F3AB1CD-0917-42A7-B7D6-2663540B048D}" dt="2022-03-03T19:12:04.641" v="995" actId="1076"/>
          <ac:picMkLst>
            <pc:docMk/>
            <pc:sldMk cId="1404460967" sldId="2146846076"/>
            <ac:picMk id="10" creationId="{BDD97E9B-D5F7-4013-9EF2-6936A1DDF3E2}"/>
          </ac:picMkLst>
        </pc:picChg>
        <pc:picChg chg="add mod">
          <ac:chgData name="Bianca Naomy" userId="abf68bbe-83b2-4c0b-9325-ce8a54e5fdae" providerId="ADAL" clId="{3F3AB1CD-0917-42A7-B7D6-2663540B048D}" dt="2022-03-03T19:12:04.641" v="995" actId="1076"/>
          <ac:picMkLst>
            <pc:docMk/>
            <pc:sldMk cId="1404460967" sldId="2146846076"/>
            <ac:picMk id="12" creationId="{4E195C52-9FA5-4D6C-97D7-B043740A4DE5}"/>
          </ac:picMkLst>
        </pc:picChg>
        <pc:picChg chg="add mod">
          <ac:chgData name="Bianca Naomy" userId="abf68bbe-83b2-4c0b-9325-ce8a54e5fdae" providerId="ADAL" clId="{3F3AB1CD-0917-42A7-B7D6-2663540B048D}" dt="2022-03-03T19:12:04.641" v="995" actId="1076"/>
          <ac:picMkLst>
            <pc:docMk/>
            <pc:sldMk cId="1404460967" sldId="2146846076"/>
            <ac:picMk id="14" creationId="{68D871C3-5FE8-40F1-B8CB-9CDF1B98D108}"/>
          </ac:picMkLst>
        </pc:picChg>
        <pc:picChg chg="add mod">
          <ac:chgData name="Bianca Naomy" userId="abf68bbe-83b2-4c0b-9325-ce8a54e5fdae" providerId="ADAL" clId="{3F3AB1CD-0917-42A7-B7D6-2663540B048D}" dt="2022-03-03T19:12:04.641" v="995" actId="1076"/>
          <ac:picMkLst>
            <pc:docMk/>
            <pc:sldMk cId="1404460967" sldId="2146846076"/>
            <ac:picMk id="16" creationId="{8DBCA058-0EA8-49CC-BCF3-0EA9C0DBDACE}"/>
          </ac:picMkLst>
        </pc:picChg>
        <pc:picChg chg="add mod">
          <ac:chgData name="Bianca Naomy" userId="abf68bbe-83b2-4c0b-9325-ce8a54e5fdae" providerId="ADAL" clId="{3F3AB1CD-0917-42A7-B7D6-2663540B048D}" dt="2022-03-03T19:12:04.641" v="995" actId="1076"/>
          <ac:picMkLst>
            <pc:docMk/>
            <pc:sldMk cId="1404460967" sldId="2146846076"/>
            <ac:picMk id="18" creationId="{C3689C78-4414-4D62-954B-BE6D1BB4644D}"/>
          </ac:picMkLst>
        </pc:picChg>
        <pc:picChg chg="add mod">
          <ac:chgData name="Bianca Naomy" userId="abf68bbe-83b2-4c0b-9325-ce8a54e5fdae" providerId="ADAL" clId="{3F3AB1CD-0917-42A7-B7D6-2663540B048D}" dt="2022-03-03T19:13:15.489" v="1017" actId="1076"/>
          <ac:picMkLst>
            <pc:docMk/>
            <pc:sldMk cId="1404460967" sldId="2146846076"/>
            <ac:picMk id="20" creationId="{C556D62C-2AC4-4726-B5EE-3E1D567FA982}"/>
          </ac:picMkLst>
        </pc:picChg>
      </pc:sldChg>
      <pc:sldChg chg="addSp delSp modSp add mod">
        <pc:chgData name="Bianca Naomy" userId="abf68bbe-83b2-4c0b-9325-ce8a54e5fdae" providerId="ADAL" clId="{3F3AB1CD-0917-42A7-B7D6-2663540B048D}" dt="2022-03-04T19:21:41.026" v="2492" actId="1076"/>
        <pc:sldMkLst>
          <pc:docMk/>
          <pc:sldMk cId="1683932540" sldId="2146846077"/>
        </pc:sldMkLst>
        <pc:spChg chg="del">
          <ac:chgData name="Bianca Naomy" userId="abf68bbe-83b2-4c0b-9325-ce8a54e5fdae" providerId="ADAL" clId="{3F3AB1CD-0917-42A7-B7D6-2663540B048D}" dt="2022-03-03T14:10:50.885" v="211" actId="478"/>
          <ac:spMkLst>
            <pc:docMk/>
            <pc:sldMk cId="1683932540" sldId="2146846077"/>
            <ac:spMk id="4" creationId="{7504F8EF-3D40-4067-9FEF-5028299DDC11}"/>
          </ac:spMkLst>
        </pc:spChg>
        <pc:spChg chg="add mod">
          <ac:chgData name="Bianca Naomy" userId="abf68bbe-83b2-4c0b-9325-ce8a54e5fdae" providerId="ADAL" clId="{3F3AB1CD-0917-42A7-B7D6-2663540B048D}" dt="2022-03-03T19:10:42.616" v="964" actId="207"/>
          <ac:spMkLst>
            <pc:docMk/>
            <pc:sldMk cId="1683932540" sldId="2146846077"/>
            <ac:spMk id="5" creationId="{32B37483-28FB-4EC9-A968-6B7F946499B7}"/>
          </ac:spMkLst>
        </pc:spChg>
        <pc:spChg chg="add mod">
          <ac:chgData name="Bianca Naomy" userId="abf68bbe-83b2-4c0b-9325-ce8a54e5fdae" providerId="ADAL" clId="{3F3AB1CD-0917-42A7-B7D6-2663540B048D}" dt="2022-03-04T19:21:19.501" v="2486" actId="1076"/>
          <ac:spMkLst>
            <pc:docMk/>
            <pc:sldMk cId="1683932540" sldId="2146846077"/>
            <ac:spMk id="6" creationId="{BC432FFE-BFF2-481D-B777-8DA18A3B59B7}"/>
          </ac:spMkLst>
        </pc:spChg>
        <pc:spChg chg="add mod">
          <ac:chgData name="Bianca Naomy" userId="abf68bbe-83b2-4c0b-9325-ce8a54e5fdae" providerId="ADAL" clId="{3F3AB1CD-0917-42A7-B7D6-2663540B048D}" dt="2022-03-03T19:09:00.630" v="961"/>
          <ac:spMkLst>
            <pc:docMk/>
            <pc:sldMk cId="1683932540" sldId="2146846077"/>
            <ac:spMk id="7" creationId="{01728192-2154-4A12-AC22-FE1F1FCD3B7B}"/>
          </ac:spMkLst>
        </pc:spChg>
        <pc:spChg chg="add mod">
          <ac:chgData name="Bianca Naomy" userId="abf68bbe-83b2-4c0b-9325-ce8a54e5fdae" providerId="ADAL" clId="{3F3AB1CD-0917-42A7-B7D6-2663540B048D}" dt="2022-03-04T19:21:41.026" v="2492" actId="1076"/>
          <ac:spMkLst>
            <pc:docMk/>
            <pc:sldMk cId="1683932540" sldId="2146846077"/>
            <ac:spMk id="8" creationId="{E9E050DD-49B2-485B-8526-53F8F73DA408}"/>
          </ac:spMkLst>
        </pc:spChg>
        <pc:picChg chg="mod">
          <ac:chgData name="Bianca Naomy" userId="abf68bbe-83b2-4c0b-9325-ce8a54e5fdae" providerId="ADAL" clId="{3F3AB1CD-0917-42A7-B7D6-2663540B048D}" dt="2022-03-04T19:21:38.395" v="2491" actId="1076"/>
          <ac:picMkLst>
            <pc:docMk/>
            <pc:sldMk cId="1683932540" sldId="2146846077"/>
            <ac:picMk id="9" creationId="{31557504-39A4-4AF3-8021-311313937D70}"/>
          </ac:picMkLst>
        </pc:picChg>
      </pc:sldChg>
      <pc:sldChg chg="delSp modSp add mod">
        <pc:chgData name="Bianca Naomy" userId="abf68bbe-83b2-4c0b-9325-ce8a54e5fdae" providerId="ADAL" clId="{3F3AB1CD-0917-42A7-B7D6-2663540B048D}" dt="2022-03-03T19:21:43.554" v="1103" actId="478"/>
        <pc:sldMkLst>
          <pc:docMk/>
          <pc:sldMk cId="3926793904" sldId="2146846078"/>
        </pc:sldMkLst>
        <pc:spChg chg="mod">
          <ac:chgData name="Bianca Naomy" userId="abf68bbe-83b2-4c0b-9325-ce8a54e5fdae" providerId="ADAL" clId="{3F3AB1CD-0917-42A7-B7D6-2663540B048D}" dt="2022-03-03T19:20:45.043" v="1102" actId="20577"/>
          <ac:spMkLst>
            <pc:docMk/>
            <pc:sldMk cId="3926793904" sldId="2146846078"/>
            <ac:spMk id="3" creationId="{D27D7BD4-79A4-4F74-AEDD-B6DF3D38FA7F}"/>
          </ac:spMkLst>
        </pc:spChg>
        <pc:spChg chg="del">
          <ac:chgData name="Bianca Naomy" userId="abf68bbe-83b2-4c0b-9325-ce8a54e5fdae" providerId="ADAL" clId="{3F3AB1CD-0917-42A7-B7D6-2663540B048D}" dt="2022-03-03T19:20:17.417" v="1057" actId="478"/>
          <ac:spMkLst>
            <pc:docMk/>
            <pc:sldMk cId="3926793904" sldId="2146846078"/>
            <ac:spMk id="4" creationId="{7504F8EF-3D40-4067-9FEF-5028299DDC11}"/>
          </ac:spMkLst>
        </pc:spChg>
        <pc:spChg chg="del">
          <ac:chgData name="Bianca Naomy" userId="abf68bbe-83b2-4c0b-9325-ce8a54e5fdae" providerId="ADAL" clId="{3F3AB1CD-0917-42A7-B7D6-2663540B048D}" dt="2022-03-03T19:20:17.417" v="1057" actId="478"/>
          <ac:spMkLst>
            <pc:docMk/>
            <pc:sldMk cId="3926793904" sldId="2146846078"/>
            <ac:spMk id="5" creationId="{D9850037-D7A2-457D-9ADB-F7F097BCB3B1}"/>
          </ac:spMkLst>
        </pc:spChg>
        <pc:spChg chg="del">
          <ac:chgData name="Bianca Naomy" userId="abf68bbe-83b2-4c0b-9325-ce8a54e5fdae" providerId="ADAL" clId="{3F3AB1CD-0917-42A7-B7D6-2663540B048D}" dt="2022-03-03T19:21:43.554" v="1103" actId="478"/>
          <ac:spMkLst>
            <pc:docMk/>
            <pc:sldMk cId="3926793904" sldId="2146846078"/>
            <ac:spMk id="6" creationId="{3AB26AD5-1E43-44D0-A679-44D49EF8AA49}"/>
          </ac:spMkLst>
        </pc:spChg>
        <pc:spChg chg="del">
          <ac:chgData name="Bianca Naomy" userId="abf68bbe-83b2-4c0b-9325-ce8a54e5fdae" providerId="ADAL" clId="{3F3AB1CD-0917-42A7-B7D6-2663540B048D}" dt="2022-03-03T19:20:17.417" v="1057" actId="478"/>
          <ac:spMkLst>
            <pc:docMk/>
            <pc:sldMk cId="3926793904" sldId="2146846078"/>
            <ac:spMk id="7" creationId="{0E90C0D4-D0BD-45D6-BBF0-7A575360FB1A}"/>
          </ac:spMkLst>
        </pc:spChg>
      </pc:sldChg>
      <pc:sldChg chg="addSp delSp modSp add mod ord">
        <pc:chgData name="Bianca Naomy" userId="abf68bbe-83b2-4c0b-9325-ce8a54e5fdae" providerId="ADAL" clId="{3F3AB1CD-0917-42A7-B7D6-2663540B048D}" dt="2022-03-04T19:24:31.099" v="2506" actId="14100"/>
        <pc:sldMkLst>
          <pc:docMk/>
          <pc:sldMk cId="2001048157" sldId="2146846079"/>
        </pc:sldMkLst>
        <pc:spChg chg="mod">
          <ac:chgData name="Bianca Naomy" userId="abf68bbe-83b2-4c0b-9325-ce8a54e5fdae" providerId="ADAL" clId="{3F3AB1CD-0917-42A7-B7D6-2663540B048D}" dt="2022-03-03T19:22:21.770" v="1122" actId="20577"/>
          <ac:spMkLst>
            <pc:docMk/>
            <pc:sldMk cId="2001048157" sldId="2146846079"/>
            <ac:spMk id="3" creationId="{D27D7BD4-79A4-4F74-AEDD-B6DF3D38FA7F}"/>
          </ac:spMkLst>
        </pc:spChg>
        <pc:spChg chg="add mod">
          <ac:chgData name="Bianca Naomy" userId="abf68bbe-83b2-4c0b-9325-ce8a54e5fdae" providerId="ADAL" clId="{3F3AB1CD-0917-42A7-B7D6-2663540B048D}" dt="2022-03-03T19:25:34.678" v="1135" actId="164"/>
          <ac:spMkLst>
            <pc:docMk/>
            <pc:sldMk cId="2001048157" sldId="2146846079"/>
            <ac:spMk id="5" creationId="{E6AFF457-506A-4813-908C-CDF1AE377851}"/>
          </ac:spMkLst>
        </pc:spChg>
        <pc:spChg chg="mod topLvl">
          <ac:chgData name="Bianca Naomy" userId="abf68bbe-83b2-4c0b-9325-ce8a54e5fdae" providerId="ADAL" clId="{3F3AB1CD-0917-42A7-B7D6-2663540B048D}" dt="2022-03-03T19:29:14.627" v="1186" actId="18245"/>
          <ac:spMkLst>
            <pc:docMk/>
            <pc:sldMk cId="2001048157" sldId="2146846079"/>
            <ac:spMk id="15" creationId="{DF300BB7-909E-4C4C-88C5-30AC002B5DB2}"/>
          </ac:spMkLst>
        </pc:spChg>
        <pc:spChg chg="add mod">
          <ac:chgData name="Bianca Naomy" userId="abf68bbe-83b2-4c0b-9325-ce8a54e5fdae" providerId="ADAL" clId="{3F3AB1CD-0917-42A7-B7D6-2663540B048D}" dt="2022-03-04T13:41:38.722" v="2019" actId="164"/>
          <ac:spMkLst>
            <pc:docMk/>
            <pc:sldMk cId="2001048157" sldId="2146846079"/>
            <ac:spMk id="16" creationId="{75AE98B8-EFCD-45F3-ABF1-808DD8FA2D94}"/>
          </ac:spMkLst>
        </pc:spChg>
        <pc:spChg chg="mod topLvl">
          <ac:chgData name="Bianca Naomy" userId="abf68bbe-83b2-4c0b-9325-ce8a54e5fdae" providerId="ADAL" clId="{3F3AB1CD-0917-42A7-B7D6-2663540B048D}" dt="2022-03-03T19:29:14.627" v="1186" actId="18245"/>
          <ac:spMkLst>
            <pc:docMk/>
            <pc:sldMk cId="2001048157" sldId="2146846079"/>
            <ac:spMk id="16" creationId="{99A83D5B-3686-4102-A5B9-85DF1924DF08}"/>
          </ac:spMkLst>
        </pc:spChg>
        <pc:spChg chg="add del mod">
          <ac:chgData name="Bianca Naomy" userId="abf68bbe-83b2-4c0b-9325-ce8a54e5fdae" providerId="ADAL" clId="{3F3AB1CD-0917-42A7-B7D6-2663540B048D}" dt="2022-03-03T19:29:14.627" v="1186" actId="18245"/>
          <ac:spMkLst>
            <pc:docMk/>
            <pc:sldMk cId="2001048157" sldId="2146846079"/>
            <ac:spMk id="17" creationId="{17021F3D-7505-4D39-B1C7-D49F028B3C48}"/>
          </ac:spMkLst>
        </pc:spChg>
        <pc:spChg chg="add del mod topLvl">
          <ac:chgData name="Bianca Naomy" userId="abf68bbe-83b2-4c0b-9325-ce8a54e5fdae" providerId="ADAL" clId="{3F3AB1CD-0917-42A7-B7D6-2663540B048D}" dt="2022-03-03T19:29:14.627" v="1186" actId="18245"/>
          <ac:spMkLst>
            <pc:docMk/>
            <pc:sldMk cId="2001048157" sldId="2146846079"/>
            <ac:spMk id="18" creationId="{A24CE4BB-351F-4188-A687-76E214821EED}"/>
          </ac:spMkLst>
        </pc:spChg>
        <pc:spChg chg="add del mod">
          <ac:chgData name="Bianca Naomy" userId="abf68bbe-83b2-4c0b-9325-ce8a54e5fdae" providerId="ADAL" clId="{3F3AB1CD-0917-42A7-B7D6-2663540B048D}" dt="2022-03-04T13:40:09.578" v="1952" actId="22"/>
          <ac:spMkLst>
            <pc:docMk/>
            <pc:sldMk cId="2001048157" sldId="2146846079"/>
            <ac:spMk id="18" creationId="{EFF77069-C1DE-44BC-B2C0-10CAB59FF523}"/>
          </ac:spMkLst>
        </pc:spChg>
        <pc:spChg chg="add mod">
          <ac:chgData name="Bianca Naomy" userId="abf68bbe-83b2-4c0b-9325-ce8a54e5fdae" providerId="ADAL" clId="{3F3AB1CD-0917-42A7-B7D6-2663540B048D}" dt="2022-03-04T13:41:56.367" v="2033" actId="13926"/>
          <ac:spMkLst>
            <pc:docMk/>
            <pc:sldMk cId="2001048157" sldId="2146846079"/>
            <ac:spMk id="19" creationId="{061D4670-FB5D-4DD7-B1F5-4688263174E9}"/>
          </ac:spMkLst>
        </pc:spChg>
        <pc:spChg chg="add del mod">
          <ac:chgData name="Bianca Naomy" userId="abf68bbe-83b2-4c0b-9325-ce8a54e5fdae" providerId="ADAL" clId="{3F3AB1CD-0917-42A7-B7D6-2663540B048D}" dt="2022-03-03T19:29:14.627" v="1186" actId="18245"/>
          <ac:spMkLst>
            <pc:docMk/>
            <pc:sldMk cId="2001048157" sldId="2146846079"/>
            <ac:spMk id="19" creationId="{E6474FD5-F86D-4552-846A-F3B77A6629CE}"/>
          </ac:spMkLst>
        </pc:spChg>
        <pc:spChg chg="mod topLvl">
          <ac:chgData name="Bianca Naomy" userId="abf68bbe-83b2-4c0b-9325-ce8a54e5fdae" providerId="ADAL" clId="{3F3AB1CD-0917-42A7-B7D6-2663540B048D}" dt="2022-03-03T19:29:14.627" v="1186" actId="18245"/>
          <ac:spMkLst>
            <pc:docMk/>
            <pc:sldMk cId="2001048157" sldId="2146846079"/>
            <ac:spMk id="20" creationId="{DAFD1FE1-14E7-4C6E-A263-A67C7F1702AD}"/>
          </ac:spMkLst>
        </pc:spChg>
        <pc:spChg chg="add del mod">
          <ac:chgData name="Bianca Naomy" userId="abf68bbe-83b2-4c0b-9325-ce8a54e5fdae" providerId="ADAL" clId="{3F3AB1CD-0917-42A7-B7D6-2663540B048D}" dt="2022-03-04T13:56:58.540" v="2088" actId="21"/>
          <ac:spMkLst>
            <pc:docMk/>
            <pc:sldMk cId="2001048157" sldId="2146846079"/>
            <ac:spMk id="21" creationId="{29DD2777-B189-423C-9B91-E3B59C04366D}"/>
          </ac:spMkLst>
        </pc:spChg>
        <pc:spChg chg="add del mod">
          <ac:chgData name="Bianca Naomy" userId="abf68bbe-83b2-4c0b-9325-ce8a54e5fdae" providerId="ADAL" clId="{3F3AB1CD-0917-42A7-B7D6-2663540B048D}" dt="2022-03-03T19:29:14.627" v="1186" actId="18245"/>
          <ac:spMkLst>
            <pc:docMk/>
            <pc:sldMk cId="2001048157" sldId="2146846079"/>
            <ac:spMk id="21" creationId="{626CB01B-9D21-4DD7-AF98-32A6A7B62D2C}"/>
          </ac:spMkLst>
        </pc:spChg>
        <pc:spChg chg="mod topLvl">
          <ac:chgData name="Bianca Naomy" userId="abf68bbe-83b2-4c0b-9325-ce8a54e5fdae" providerId="ADAL" clId="{3F3AB1CD-0917-42A7-B7D6-2663540B048D}" dt="2022-03-03T19:29:14.627" v="1186" actId="18245"/>
          <ac:spMkLst>
            <pc:docMk/>
            <pc:sldMk cId="2001048157" sldId="2146846079"/>
            <ac:spMk id="22" creationId="{848019A4-D853-458E-8E95-2CB1DE87AA3E}"/>
          </ac:spMkLst>
        </pc:spChg>
        <pc:spChg chg="add mod">
          <ac:chgData name="Bianca Naomy" userId="abf68bbe-83b2-4c0b-9325-ce8a54e5fdae" providerId="ADAL" clId="{3F3AB1CD-0917-42A7-B7D6-2663540B048D}" dt="2022-03-04T19:24:31.099" v="2506" actId="14100"/>
          <ac:spMkLst>
            <pc:docMk/>
            <pc:sldMk cId="2001048157" sldId="2146846079"/>
            <ac:spMk id="22" creationId="{CBEC229F-1C20-4AA7-A2AE-C210AF86D9A8}"/>
          </ac:spMkLst>
        </pc:spChg>
        <pc:spChg chg="add del mod">
          <ac:chgData name="Bianca Naomy" userId="abf68bbe-83b2-4c0b-9325-ce8a54e5fdae" providerId="ADAL" clId="{3F3AB1CD-0917-42A7-B7D6-2663540B048D}" dt="2022-03-03T19:29:14.627" v="1186" actId="18245"/>
          <ac:spMkLst>
            <pc:docMk/>
            <pc:sldMk cId="2001048157" sldId="2146846079"/>
            <ac:spMk id="23" creationId="{C770E231-A088-4485-AF0D-431638BD586F}"/>
          </ac:spMkLst>
        </pc:spChg>
        <pc:spChg chg="mod topLvl">
          <ac:chgData name="Bianca Naomy" userId="abf68bbe-83b2-4c0b-9325-ce8a54e5fdae" providerId="ADAL" clId="{3F3AB1CD-0917-42A7-B7D6-2663540B048D}" dt="2022-03-03T19:29:14.627" v="1186" actId="18245"/>
          <ac:spMkLst>
            <pc:docMk/>
            <pc:sldMk cId="2001048157" sldId="2146846079"/>
            <ac:spMk id="24" creationId="{91F057B2-849D-4DFC-B9F3-BEE19950C6D7}"/>
          </ac:spMkLst>
        </pc:spChg>
        <pc:spChg chg="add del mod">
          <ac:chgData name="Bianca Naomy" userId="abf68bbe-83b2-4c0b-9325-ce8a54e5fdae" providerId="ADAL" clId="{3F3AB1CD-0917-42A7-B7D6-2663540B048D}" dt="2022-03-03T19:29:14.627" v="1186" actId="18245"/>
          <ac:spMkLst>
            <pc:docMk/>
            <pc:sldMk cId="2001048157" sldId="2146846079"/>
            <ac:spMk id="25" creationId="{02F73EE7-A4D1-4B9A-B465-1471AEC4B9ED}"/>
          </ac:spMkLst>
        </pc:spChg>
        <pc:spChg chg="mod topLvl">
          <ac:chgData name="Bianca Naomy" userId="abf68bbe-83b2-4c0b-9325-ce8a54e5fdae" providerId="ADAL" clId="{3F3AB1CD-0917-42A7-B7D6-2663540B048D}" dt="2022-03-03T19:29:14.627" v="1186" actId="18245"/>
          <ac:spMkLst>
            <pc:docMk/>
            <pc:sldMk cId="2001048157" sldId="2146846079"/>
            <ac:spMk id="26" creationId="{3853266F-D0C6-4DA2-8F61-56FE739AEACF}"/>
          </ac:spMkLst>
        </pc:spChg>
        <pc:spChg chg="add del mod">
          <ac:chgData name="Bianca Naomy" userId="abf68bbe-83b2-4c0b-9325-ce8a54e5fdae" providerId="ADAL" clId="{3F3AB1CD-0917-42A7-B7D6-2663540B048D}" dt="2022-03-03T19:29:14.627" v="1186" actId="18245"/>
          <ac:spMkLst>
            <pc:docMk/>
            <pc:sldMk cId="2001048157" sldId="2146846079"/>
            <ac:spMk id="27" creationId="{B090D04D-30D9-45E6-B24D-4BF7F2D58DED}"/>
          </ac:spMkLst>
        </pc:spChg>
        <pc:spChg chg="mod topLvl">
          <ac:chgData name="Bianca Naomy" userId="abf68bbe-83b2-4c0b-9325-ce8a54e5fdae" providerId="ADAL" clId="{3F3AB1CD-0917-42A7-B7D6-2663540B048D}" dt="2022-03-03T19:29:14.627" v="1186" actId="18245"/>
          <ac:spMkLst>
            <pc:docMk/>
            <pc:sldMk cId="2001048157" sldId="2146846079"/>
            <ac:spMk id="28" creationId="{677B1604-8701-4937-ABE9-D5F2D4BBE7DE}"/>
          </ac:spMkLst>
        </pc:spChg>
        <pc:spChg chg="add del mod">
          <ac:chgData name="Bianca Naomy" userId="abf68bbe-83b2-4c0b-9325-ce8a54e5fdae" providerId="ADAL" clId="{3F3AB1CD-0917-42A7-B7D6-2663540B048D}" dt="2022-03-03T19:29:14.627" v="1186" actId="18245"/>
          <ac:spMkLst>
            <pc:docMk/>
            <pc:sldMk cId="2001048157" sldId="2146846079"/>
            <ac:spMk id="29" creationId="{067A5486-D113-4FBC-83AE-66ABCFF3E6E7}"/>
          </ac:spMkLst>
        </pc:spChg>
        <pc:spChg chg="mod topLvl">
          <ac:chgData name="Bianca Naomy" userId="abf68bbe-83b2-4c0b-9325-ce8a54e5fdae" providerId="ADAL" clId="{3F3AB1CD-0917-42A7-B7D6-2663540B048D}" dt="2022-03-03T19:29:14.627" v="1186" actId="18245"/>
          <ac:spMkLst>
            <pc:docMk/>
            <pc:sldMk cId="2001048157" sldId="2146846079"/>
            <ac:spMk id="30" creationId="{B4B9799C-BFE8-46B7-8DCC-94CA6CA5341F}"/>
          </ac:spMkLst>
        </pc:spChg>
        <pc:spChg chg="add del mod">
          <ac:chgData name="Bianca Naomy" userId="abf68bbe-83b2-4c0b-9325-ce8a54e5fdae" providerId="ADAL" clId="{3F3AB1CD-0917-42A7-B7D6-2663540B048D}" dt="2022-03-03T19:29:14.627" v="1186" actId="18245"/>
          <ac:spMkLst>
            <pc:docMk/>
            <pc:sldMk cId="2001048157" sldId="2146846079"/>
            <ac:spMk id="31" creationId="{064C91F6-65A1-4ACE-B89A-375DA7B2D572}"/>
          </ac:spMkLst>
        </pc:spChg>
        <pc:spChg chg="mod topLvl">
          <ac:chgData name="Bianca Naomy" userId="abf68bbe-83b2-4c0b-9325-ce8a54e5fdae" providerId="ADAL" clId="{3F3AB1CD-0917-42A7-B7D6-2663540B048D}" dt="2022-03-03T19:29:14.627" v="1186" actId="18245"/>
          <ac:spMkLst>
            <pc:docMk/>
            <pc:sldMk cId="2001048157" sldId="2146846079"/>
            <ac:spMk id="32" creationId="{9E71D7B3-40F2-4E27-BE21-F37A655BB71C}"/>
          </ac:spMkLst>
        </pc:spChg>
        <pc:spChg chg="add del mod">
          <ac:chgData name="Bianca Naomy" userId="abf68bbe-83b2-4c0b-9325-ce8a54e5fdae" providerId="ADAL" clId="{3F3AB1CD-0917-42A7-B7D6-2663540B048D}" dt="2022-03-03T19:29:13.239" v="1177" actId="478"/>
          <ac:spMkLst>
            <pc:docMk/>
            <pc:sldMk cId="2001048157" sldId="2146846079"/>
            <ac:spMk id="33" creationId="{3C8236B4-CC4A-46CA-A2CF-997F3CEA3D5E}"/>
          </ac:spMkLst>
        </pc:spChg>
        <pc:spChg chg="mod topLvl">
          <ac:chgData name="Bianca Naomy" userId="abf68bbe-83b2-4c0b-9325-ce8a54e5fdae" providerId="ADAL" clId="{3F3AB1CD-0917-42A7-B7D6-2663540B048D}" dt="2022-03-03T19:29:49.408" v="1200" actId="18245"/>
          <ac:spMkLst>
            <pc:docMk/>
            <pc:sldMk cId="2001048157" sldId="2146846079"/>
            <ac:spMk id="35" creationId="{18F1BFDB-6514-4EA4-BF11-DD66085C0AFA}"/>
          </ac:spMkLst>
        </pc:spChg>
        <pc:spChg chg="mod topLvl">
          <ac:chgData name="Bianca Naomy" userId="abf68bbe-83b2-4c0b-9325-ce8a54e5fdae" providerId="ADAL" clId="{3F3AB1CD-0917-42A7-B7D6-2663540B048D}" dt="2022-03-03T19:29:49.408" v="1200" actId="18245"/>
          <ac:spMkLst>
            <pc:docMk/>
            <pc:sldMk cId="2001048157" sldId="2146846079"/>
            <ac:spMk id="36" creationId="{582BBBBA-BEEA-4E0F-99C8-79F2DD9366BD}"/>
          </ac:spMkLst>
        </pc:spChg>
        <pc:spChg chg="add del mod topLvl">
          <ac:chgData name="Bianca Naomy" userId="abf68bbe-83b2-4c0b-9325-ce8a54e5fdae" providerId="ADAL" clId="{3F3AB1CD-0917-42A7-B7D6-2663540B048D}" dt="2022-03-03T19:29:49.408" v="1200" actId="18245"/>
          <ac:spMkLst>
            <pc:docMk/>
            <pc:sldMk cId="2001048157" sldId="2146846079"/>
            <ac:spMk id="37" creationId="{30055338-1700-45CF-ACA3-3FB0C77680FF}"/>
          </ac:spMkLst>
        </pc:spChg>
        <pc:spChg chg="mod topLvl">
          <ac:chgData name="Bianca Naomy" userId="abf68bbe-83b2-4c0b-9325-ce8a54e5fdae" providerId="ADAL" clId="{3F3AB1CD-0917-42A7-B7D6-2663540B048D}" dt="2022-03-03T19:29:49.408" v="1200" actId="18245"/>
          <ac:spMkLst>
            <pc:docMk/>
            <pc:sldMk cId="2001048157" sldId="2146846079"/>
            <ac:spMk id="38" creationId="{B912A636-9329-4F0C-8A71-C3BEBC5E1F2B}"/>
          </ac:spMkLst>
        </pc:spChg>
        <pc:spChg chg="add del mod topLvl">
          <ac:chgData name="Bianca Naomy" userId="abf68bbe-83b2-4c0b-9325-ce8a54e5fdae" providerId="ADAL" clId="{3F3AB1CD-0917-42A7-B7D6-2663540B048D}" dt="2022-03-03T19:29:49.408" v="1200" actId="18245"/>
          <ac:spMkLst>
            <pc:docMk/>
            <pc:sldMk cId="2001048157" sldId="2146846079"/>
            <ac:spMk id="39" creationId="{1CF5C6CB-D213-45A2-84FF-CA13834F55D1}"/>
          </ac:spMkLst>
        </pc:spChg>
        <pc:spChg chg="mod topLvl">
          <ac:chgData name="Bianca Naomy" userId="abf68bbe-83b2-4c0b-9325-ce8a54e5fdae" providerId="ADAL" clId="{3F3AB1CD-0917-42A7-B7D6-2663540B048D}" dt="2022-03-03T19:29:49.408" v="1200" actId="18245"/>
          <ac:spMkLst>
            <pc:docMk/>
            <pc:sldMk cId="2001048157" sldId="2146846079"/>
            <ac:spMk id="40" creationId="{3A9569FD-1126-4343-B084-841EEA6956F9}"/>
          </ac:spMkLst>
        </pc:spChg>
        <pc:spChg chg="add del mod topLvl">
          <ac:chgData name="Bianca Naomy" userId="abf68bbe-83b2-4c0b-9325-ce8a54e5fdae" providerId="ADAL" clId="{3F3AB1CD-0917-42A7-B7D6-2663540B048D}" dt="2022-03-03T19:29:49.408" v="1200" actId="18245"/>
          <ac:spMkLst>
            <pc:docMk/>
            <pc:sldMk cId="2001048157" sldId="2146846079"/>
            <ac:spMk id="41" creationId="{3D66A336-2F64-4F63-AC82-AD9BAA75D330}"/>
          </ac:spMkLst>
        </pc:spChg>
        <pc:spChg chg="mod topLvl">
          <ac:chgData name="Bianca Naomy" userId="abf68bbe-83b2-4c0b-9325-ce8a54e5fdae" providerId="ADAL" clId="{3F3AB1CD-0917-42A7-B7D6-2663540B048D}" dt="2022-03-03T19:29:49.408" v="1200" actId="18245"/>
          <ac:spMkLst>
            <pc:docMk/>
            <pc:sldMk cId="2001048157" sldId="2146846079"/>
            <ac:spMk id="42" creationId="{53739B33-7181-45FF-BBB0-061CF08A9DBC}"/>
          </ac:spMkLst>
        </pc:spChg>
        <pc:spChg chg="add del mod topLvl">
          <ac:chgData name="Bianca Naomy" userId="abf68bbe-83b2-4c0b-9325-ce8a54e5fdae" providerId="ADAL" clId="{3F3AB1CD-0917-42A7-B7D6-2663540B048D}" dt="2022-03-03T19:29:48.156" v="1199" actId="165"/>
          <ac:spMkLst>
            <pc:docMk/>
            <pc:sldMk cId="2001048157" sldId="2146846079"/>
            <ac:spMk id="43" creationId="{9027231C-0500-41EB-8E86-9F48184D489E}"/>
          </ac:spMkLst>
        </pc:spChg>
        <pc:spChg chg="del mod">
          <ac:chgData name="Bianca Naomy" userId="abf68bbe-83b2-4c0b-9325-ce8a54e5fdae" providerId="ADAL" clId="{3F3AB1CD-0917-42A7-B7D6-2663540B048D}" dt="2022-03-03T19:30:20.194" v="1209" actId="478"/>
          <ac:spMkLst>
            <pc:docMk/>
            <pc:sldMk cId="2001048157" sldId="2146846079"/>
            <ac:spMk id="45" creationId="{C895F4E4-0A47-4CC1-A99E-A68D3944AB98}"/>
          </ac:spMkLst>
        </pc:spChg>
        <pc:spChg chg="mod">
          <ac:chgData name="Bianca Naomy" userId="abf68bbe-83b2-4c0b-9325-ce8a54e5fdae" providerId="ADAL" clId="{3F3AB1CD-0917-42A7-B7D6-2663540B048D}" dt="2022-03-03T19:30:56.508" v="1219" actId="207"/>
          <ac:spMkLst>
            <pc:docMk/>
            <pc:sldMk cId="2001048157" sldId="2146846079"/>
            <ac:spMk id="46" creationId="{F52ADAEF-1CCB-4DEC-8A18-A64B56B3A704}"/>
          </ac:spMkLst>
        </pc:spChg>
        <pc:spChg chg="del mod">
          <ac:chgData name="Bianca Naomy" userId="abf68bbe-83b2-4c0b-9325-ce8a54e5fdae" providerId="ADAL" clId="{3F3AB1CD-0917-42A7-B7D6-2663540B048D}" dt="2022-03-03T19:30:22.016" v="1210" actId="478"/>
          <ac:spMkLst>
            <pc:docMk/>
            <pc:sldMk cId="2001048157" sldId="2146846079"/>
            <ac:spMk id="47" creationId="{67507265-A41C-4B50-A5E7-2EE1201842C3}"/>
          </ac:spMkLst>
        </pc:spChg>
        <pc:spChg chg="mod">
          <ac:chgData name="Bianca Naomy" userId="abf68bbe-83b2-4c0b-9325-ce8a54e5fdae" providerId="ADAL" clId="{3F3AB1CD-0917-42A7-B7D6-2663540B048D}" dt="2022-03-03T19:30:56.508" v="1219" actId="207"/>
          <ac:spMkLst>
            <pc:docMk/>
            <pc:sldMk cId="2001048157" sldId="2146846079"/>
            <ac:spMk id="48" creationId="{532F3D36-1128-474F-9BEE-EACC949BF2E0}"/>
          </ac:spMkLst>
        </pc:spChg>
        <pc:spChg chg="del mod">
          <ac:chgData name="Bianca Naomy" userId="abf68bbe-83b2-4c0b-9325-ce8a54e5fdae" providerId="ADAL" clId="{3F3AB1CD-0917-42A7-B7D6-2663540B048D}" dt="2022-03-03T19:30:25.859" v="1211" actId="478"/>
          <ac:spMkLst>
            <pc:docMk/>
            <pc:sldMk cId="2001048157" sldId="2146846079"/>
            <ac:spMk id="49" creationId="{E28D089F-E2E3-48D6-89ED-AB18C9621179}"/>
          </ac:spMkLst>
        </pc:spChg>
        <pc:spChg chg="mod">
          <ac:chgData name="Bianca Naomy" userId="abf68bbe-83b2-4c0b-9325-ce8a54e5fdae" providerId="ADAL" clId="{3F3AB1CD-0917-42A7-B7D6-2663540B048D}" dt="2022-03-03T19:30:56.508" v="1219" actId="207"/>
          <ac:spMkLst>
            <pc:docMk/>
            <pc:sldMk cId="2001048157" sldId="2146846079"/>
            <ac:spMk id="50" creationId="{A9F569AD-89E1-4845-9751-8E801C6EC73A}"/>
          </ac:spMkLst>
        </pc:spChg>
        <pc:spChg chg="del mod">
          <ac:chgData name="Bianca Naomy" userId="abf68bbe-83b2-4c0b-9325-ce8a54e5fdae" providerId="ADAL" clId="{3F3AB1CD-0917-42A7-B7D6-2663540B048D}" dt="2022-03-03T19:30:13.940" v="1208" actId="478"/>
          <ac:spMkLst>
            <pc:docMk/>
            <pc:sldMk cId="2001048157" sldId="2146846079"/>
            <ac:spMk id="51" creationId="{925EC186-57BA-4E1D-9B4A-AEBB4EB57C6B}"/>
          </ac:spMkLst>
        </pc:spChg>
        <pc:spChg chg="mod">
          <ac:chgData name="Bianca Naomy" userId="abf68bbe-83b2-4c0b-9325-ce8a54e5fdae" providerId="ADAL" clId="{3F3AB1CD-0917-42A7-B7D6-2663540B048D}" dt="2022-03-03T19:30:56.508" v="1219" actId="207"/>
          <ac:spMkLst>
            <pc:docMk/>
            <pc:sldMk cId="2001048157" sldId="2146846079"/>
            <ac:spMk id="52" creationId="{F9CAE202-6C45-4EC4-97C9-B8BDD9E01554}"/>
          </ac:spMkLst>
        </pc:spChg>
        <pc:spChg chg="del mod">
          <ac:chgData name="Bianca Naomy" userId="abf68bbe-83b2-4c0b-9325-ce8a54e5fdae" providerId="ADAL" clId="{3F3AB1CD-0917-42A7-B7D6-2663540B048D}" dt="2022-03-03T19:30:11.573" v="1207" actId="478"/>
          <ac:spMkLst>
            <pc:docMk/>
            <pc:sldMk cId="2001048157" sldId="2146846079"/>
            <ac:spMk id="53" creationId="{08C8F9F9-0D16-4973-9CD2-D0190EDDF07C}"/>
          </ac:spMkLst>
        </pc:spChg>
        <pc:spChg chg="add mod">
          <ac:chgData name="Bianca Naomy" userId="abf68bbe-83b2-4c0b-9325-ce8a54e5fdae" providerId="ADAL" clId="{3F3AB1CD-0917-42A7-B7D6-2663540B048D}" dt="2022-03-04T13:43:31.713" v="2050" actId="14100"/>
          <ac:spMkLst>
            <pc:docMk/>
            <pc:sldMk cId="2001048157" sldId="2146846079"/>
            <ac:spMk id="54" creationId="{CA33CA92-6C9A-4BBF-A9CA-3EB3057DD5D4}"/>
          </ac:spMkLst>
        </pc:spChg>
        <pc:spChg chg="del mod topLvl">
          <ac:chgData name="Bianca Naomy" userId="abf68bbe-83b2-4c0b-9325-ce8a54e5fdae" providerId="ADAL" clId="{3F3AB1CD-0917-42A7-B7D6-2663540B048D}" dt="2022-03-03T19:38:02.377" v="1328" actId="478"/>
          <ac:spMkLst>
            <pc:docMk/>
            <pc:sldMk cId="2001048157" sldId="2146846079"/>
            <ac:spMk id="57" creationId="{931FA591-E36B-43C4-B411-8D3480F3EEB8}"/>
          </ac:spMkLst>
        </pc:spChg>
        <pc:spChg chg="mod topLvl">
          <ac:chgData name="Bianca Naomy" userId="abf68bbe-83b2-4c0b-9325-ce8a54e5fdae" providerId="ADAL" clId="{3F3AB1CD-0917-42A7-B7D6-2663540B048D}" dt="2022-03-03T19:38:36.410" v="1336" actId="164"/>
          <ac:spMkLst>
            <pc:docMk/>
            <pc:sldMk cId="2001048157" sldId="2146846079"/>
            <ac:spMk id="58" creationId="{94BCBB02-8E66-4C0F-9FA6-DD23E7FA01BD}"/>
          </ac:spMkLst>
        </pc:spChg>
        <pc:spChg chg="mod topLvl">
          <ac:chgData name="Bianca Naomy" userId="abf68bbe-83b2-4c0b-9325-ce8a54e5fdae" providerId="ADAL" clId="{3F3AB1CD-0917-42A7-B7D6-2663540B048D}" dt="2022-03-03T19:38:36.410" v="1336" actId="164"/>
          <ac:spMkLst>
            <pc:docMk/>
            <pc:sldMk cId="2001048157" sldId="2146846079"/>
            <ac:spMk id="59" creationId="{F076B0F3-4333-4F73-9289-34FD64006B6C}"/>
          </ac:spMkLst>
        </pc:spChg>
        <pc:spChg chg="mod topLvl">
          <ac:chgData name="Bianca Naomy" userId="abf68bbe-83b2-4c0b-9325-ce8a54e5fdae" providerId="ADAL" clId="{3F3AB1CD-0917-42A7-B7D6-2663540B048D}" dt="2022-03-03T19:38:36.410" v="1336" actId="164"/>
          <ac:spMkLst>
            <pc:docMk/>
            <pc:sldMk cId="2001048157" sldId="2146846079"/>
            <ac:spMk id="60" creationId="{A85C8A61-F83D-4C2F-A587-A7B0AF2FC12E}"/>
          </ac:spMkLst>
        </pc:spChg>
        <pc:spChg chg="mod topLvl">
          <ac:chgData name="Bianca Naomy" userId="abf68bbe-83b2-4c0b-9325-ce8a54e5fdae" providerId="ADAL" clId="{3F3AB1CD-0917-42A7-B7D6-2663540B048D}" dt="2022-03-03T19:38:36.410" v="1336" actId="164"/>
          <ac:spMkLst>
            <pc:docMk/>
            <pc:sldMk cId="2001048157" sldId="2146846079"/>
            <ac:spMk id="61" creationId="{A9D7DBDB-1285-4416-9622-48904AB14579}"/>
          </ac:spMkLst>
        </pc:spChg>
        <pc:spChg chg="mod topLvl">
          <ac:chgData name="Bianca Naomy" userId="abf68bbe-83b2-4c0b-9325-ce8a54e5fdae" providerId="ADAL" clId="{3F3AB1CD-0917-42A7-B7D6-2663540B048D}" dt="2022-03-03T19:38:36.410" v="1336" actId="164"/>
          <ac:spMkLst>
            <pc:docMk/>
            <pc:sldMk cId="2001048157" sldId="2146846079"/>
            <ac:spMk id="62" creationId="{063638E2-38C2-4EA8-AD2B-4177058742BD}"/>
          </ac:spMkLst>
        </pc:spChg>
        <pc:spChg chg="mod topLvl">
          <ac:chgData name="Bianca Naomy" userId="abf68bbe-83b2-4c0b-9325-ce8a54e5fdae" providerId="ADAL" clId="{3F3AB1CD-0917-42A7-B7D6-2663540B048D}" dt="2022-03-03T19:38:36.410" v="1336" actId="164"/>
          <ac:spMkLst>
            <pc:docMk/>
            <pc:sldMk cId="2001048157" sldId="2146846079"/>
            <ac:spMk id="63" creationId="{969DDDCA-411B-4DDB-A5C3-3BFCC0BEB0A1}"/>
          </ac:spMkLst>
        </pc:spChg>
        <pc:spChg chg="mod topLvl">
          <ac:chgData name="Bianca Naomy" userId="abf68bbe-83b2-4c0b-9325-ce8a54e5fdae" providerId="ADAL" clId="{3F3AB1CD-0917-42A7-B7D6-2663540B048D}" dt="2022-03-03T19:38:36.410" v="1336" actId="164"/>
          <ac:spMkLst>
            <pc:docMk/>
            <pc:sldMk cId="2001048157" sldId="2146846079"/>
            <ac:spMk id="64" creationId="{CBC32437-970F-4E35-B90C-C60F1EF9A69C}"/>
          </ac:spMkLst>
        </pc:spChg>
        <pc:spChg chg="mod topLvl">
          <ac:chgData name="Bianca Naomy" userId="abf68bbe-83b2-4c0b-9325-ce8a54e5fdae" providerId="ADAL" clId="{3F3AB1CD-0917-42A7-B7D6-2663540B048D}" dt="2022-03-03T19:38:36.410" v="1336" actId="164"/>
          <ac:spMkLst>
            <pc:docMk/>
            <pc:sldMk cId="2001048157" sldId="2146846079"/>
            <ac:spMk id="65" creationId="{FBE8F78A-154B-442A-B934-A3EA48410C87}"/>
          </ac:spMkLst>
        </pc:spChg>
        <pc:grpChg chg="add mod">
          <ac:chgData name="Bianca Naomy" userId="abf68bbe-83b2-4c0b-9325-ce8a54e5fdae" providerId="ADAL" clId="{3F3AB1CD-0917-42A7-B7D6-2663540B048D}" dt="2022-03-03T19:38:36.410" v="1336" actId="164"/>
          <ac:grpSpMkLst>
            <pc:docMk/>
            <pc:sldMk cId="2001048157" sldId="2146846079"/>
            <ac:grpSpMk id="6" creationId="{238C85F1-56EE-44F0-8FB1-F13656D1495B}"/>
          </ac:grpSpMkLst>
        </pc:grpChg>
        <pc:grpChg chg="add mod">
          <ac:chgData name="Bianca Naomy" userId="abf68bbe-83b2-4c0b-9325-ce8a54e5fdae" providerId="ADAL" clId="{3F3AB1CD-0917-42A7-B7D6-2663540B048D}" dt="2022-03-04T13:41:38.722" v="2019" actId="164"/>
          <ac:grpSpMkLst>
            <pc:docMk/>
            <pc:sldMk cId="2001048157" sldId="2146846079"/>
            <ac:grpSpMk id="7" creationId="{80E7C45C-7072-4B11-99EE-90D286C673E1}"/>
          </ac:grpSpMkLst>
        </pc:grpChg>
        <pc:grpChg chg="add del mod">
          <ac:chgData name="Bianca Naomy" userId="abf68bbe-83b2-4c0b-9325-ce8a54e5fdae" providerId="ADAL" clId="{3F3AB1CD-0917-42A7-B7D6-2663540B048D}" dt="2022-03-03T19:29:14.627" v="1186" actId="18245"/>
          <ac:grpSpMkLst>
            <pc:docMk/>
            <pc:sldMk cId="2001048157" sldId="2146846079"/>
            <ac:grpSpMk id="14" creationId="{B774E2F5-EB90-4ED6-8FF7-F69106B47524}"/>
          </ac:grpSpMkLst>
        </pc:grpChg>
        <pc:grpChg chg="add del mod">
          <ac:chgData name="Bianca Naomy" userId="abf68bbe-83b2-4c0b-9325-ce8a54e5fdae" providerId="ADAL" clId="{3F3AB1CD-0917-42A7-B7D6-2663540B048D}" dt="2022-03-03T19:29:49.408" v="1200" actId="18245"/>
          <ac:grpSpMkLst>
            <pc:docMk/>
            <pc:sldMk cId="2001048157" sldId="2146846079"/>
            <ac:grpSpMk id="34" creationId="{C29EB88A-8EB6-42A7-B9F4-EF21B8D88DCC}"/>
          </ac:grpSpMkLst>
        </pc:grpChg>
        <pc:grpChg chg="del mod">
          <ac:chgData name="Bianca Naomy" userId="abf68bbe-83b2-4c0b-9325-ce8a54e5fdae" providerId="ADAL" clId="{3F3AB1CD-0917-42A7-B7D6-2663540B048D}" dt="2022-03-03T19:38:28.690" v="1335" actId="478"/>
          <ac:grpSpMkLst>
            <pc:docMk/>
            <pc:sldMk cId="2001048157" sldId="2146846079"/>
            <ac:grpSpMk id="44" creationId="{134CE1CE-73C3-4AEA-B76F-EB7CE2697EB9}"/>
          </ac:grpSpMkLst>
        </pc:grpChg>
        <pc:grpChg chg="del mod">
          <ac:chgData name="Bianca Naomy" userId="abf68bbe-83b2-4c0b-9325-ce8a54e5fdae" providerId="ADAL" clId="{3F3AB1CD-0917-42A7-B7D6-2663540B048D}" dt="2022-03-03T19:36:51.120" v="1316" actId="165"/>
          <ac:grpSpMkLst>
            <pc:docMk/>
            <pc:sldMk cId="2001048157" sldId="2146846079"/>
            <ac:grpSpMk id="56" creationId="{B9207FC3-7C8E-4D97-BB2F-02ACF3948FB4}"/>
          </ac:grpSpMkLst>
        </pc:grpChg>
        <pc:grpChg chg="add mod">
          <ac:chgData name="Bianca Naomy" userId="abf68bbe-83b2-4c0b-9325-ce8a54e5fdae" providerId="ADAL" clId="{3F3AB1CD-0917-42A7-B7D6-2663540B048D}" dt="2022-03-03T19:38:39.851" v="1337" actId="1076"/>
          <ac:grpSpMkLst>
            <pc:docMk/>
            <pc:sldMk cId="2001048157" sldId="2146846079"/>
            <ac:grpSpMk id="66" creationId="{D318F929-8C14-45A1-BEFB-74C0BDA9F4D8}"/>
          </ac:grpSpMkLst>
        </pc:grpChg>
        <pc:graphicFrameChg chg="add del mod modGraphic">
          <ac:chgData name="Bianca Naomy" userId="abf68bbe-83b2-4c0b-9325-ce8a54e5fdae" providerId="ADAL" clId="{3F3AB1CD-0917-42A7-B7D6-2663540B048D}" dt="2022-03-03T19:30:08.898" v="1206" actId="18245"/>
          <ac:graphicFrameMkLst>
            <pc:docMk/>
            <pc:sldMk cId="2001048157" sldId="2146846079"/>
            <ac:graphicFrameMk id="13" creationId="{D3D7FDA4-B0B3-4E85-B5DA-9B592AC9C40E}"/>
          </ac:graphicFrameMkLst>
        </pc:graphicFrameChg>
        <pc:graphicFrameChg chg="add del mod modGraphic">
          <ac:chgData name="Bianca Naomy" userId="abf68bbe-83b2-4c0b-9325-ce8a54e5fdae" providerId="ADAL" clId="{3F3AB1CD-0917-42A7-B7D6-2663540B048D}" dt="2022-03-03T19:36:42.707" v="1315" actId="18245"/>
          <ac:graphicFrameMkLst>
            <pc:docMk/>
            <pc:sldMk cId="2001048157" sldId="2146846079"/>
            <ac:graphicFrameMk id="55" creationId="{53312F5C-5D70-41DC-AF9A-5AEE731D0BB3}"/>
          </ac:graphicFrameMkLst>
        </pc:graphicFrameChg>
        <pc:picChg chg="add mod">
          <ac:chgData name="Bianca Naomy" userId="abf68bbe-83b2-4c0b-9325-ce8a54e5fdae" providerId="ADAL" clId="{3F3AB1CD-0917-42A7-B7D6-2663540B048D}" dt="2022-03-03T19:25:34.678" v="1135" actId="164"/>
          <ac:picMkLst>
            <pc:docMk/>
            <pc:sldMk cId="2001048157" sldId="2146846079"/>
            <ac:picMk id="4" creationId="{D684D8D2-D59B-4658-B3EC-1A0CE587690B}"/>
          </ac:picMkLst>
        </pc:picChg>
        <pc:cxnChg chg="add del">
          <ac:chgData name="Bianca Naomy" userId="abf68bbe-83b2-4c0b-9325-ce8a54e5fdae" providerId="ADAL" clId="{3F3AB1CD-0917-42A7-B7D6-2663540B048D}" dt="2022-03-03T19:30:27.442" v="1212" actId="478"/>
          <ac:cxnSpMkLst>
            <pc:docMk/>
            <pc:sldMk cId="2001048157" sldId="2146846079"/>
            <ac:cxnSpMk id="8" creationId="{E50600AE-1AF2-450B-9177-341B541625F6}"/>
          </ac:cxnSpMkLst>
        </pc:cxnChg>
        <pc:cxnChg chg="add del mod">
          <ac:chgData name="Bianca Naomy" userId="abf68bbe-83b2-4c0b-9325-ce8a54e5fdae" providerId="ADAL" clId="{3F3AB1CD-0917-42A7-B7D6-2663540B048D}" dt="2022-03-03T19:30:28.591" v="1213" actId="478"/>
          <ac:cxnSpMkLst>
            <pc:docMk/>
            <pc:sldMk cId="2001048157" sldId="2146846079"/>
            <ac:cxnSpMk id="9" creationId="{B487085A-F473-4742-AF4E-69B7F86999CD}"/>
          </ac:cxnSpMkLst>
        </pc:cxnChg>
      </pc:sldChg>
      <pc:sldChg chg="modSp add del mod">
        <pc:chgData name="Bianca Naomy" userId="abf68bbe-83b2-4c0b-9325-ce8a54e5fdae" providerId="ADAL" clId="{3F3AB1CD-0917-42A7-B7D6-2663540B048D}" dt="2022-03-04T13:29:25.528" v="1938" actId="47"/>
        <pc:sldMkLst>
          <pc:docMk/>
          <pc:sldMk cId="2260269470" sldId="2146846080"/>
        </pc:sldMkLst>
        <pc:spChg chg="mod">
          <ac:chgData name="Bianca Naomy" userId="abf68bbe-83b2-4c0b-9325-ce8a54e5fdae" providerId="ADAL" clId="{3F3AB1CD-0917-42A7-B7D6-2663540B048D}" dt="2022-03-03T19:44:48.237" v="1366" actId="20577"/>
          <ac:spMkLst>
            <pc:docMk/>
            <pc:sldMk cId="2260269470" sldId="2146846080"/>
            <ac:spMk id="3" creationId="{D27D7BD4-79A4-4F74-AEDD-B6DF3D38FA7F}"/>
          </ac:spMkLst>
        </pc:spChg>
      </pc:sldChg>
      <pc:sldChg chg="addSp delSp modSp add mod">
        <pc:chgData name="Bianca Naomy" userId="abf68bbe-83b2-4c0b-9325-ce8a54e5fdae" providerId="ADAL" clId="{3F3AB1CD-0917-42A7-B7D6-2663540B048D}" dt="2022-03-03T20:32:31.898" v="1710" actId="1076"/>
        <pc:sldMkLst>
          <pc:docMk/>
          <pc:sldMk cId="2969475038" sldId="2146846081"/>
        </pc:sldMkLst>
        <pc:spChg chg="del">
          <ac:chgData name="Bianca Naomy" userId="abf68bbe-83b2-4c0b-9325-ce8a54e5fdae" providerId="ADAL" clId="{3F3AB1CD-0917-42A7-B7D6-2663540B048D}" dt="2022-03-03T20:19:00.488" v="1484" actId="478"/>
          <ac:spMkLst>
            <pc:docMk/>
            <pc:sldMk cId="2969475038" sldId="2146846081"/>
            <ac:spMk id="4" creationId="{7504F8EF-3D40-4067-9FEF-5028299DDC11}"/>
          </ac:spMkLst>
        </pc:spChg>
        <pc:spChg chg="del">
          <ac:chgData name="Bianca Naomy" userId="abf68bbe-83b2-4c0b-9325-ce8a54e5fdae" providerId="ADAL" clId="{3F3AB1CD-0917-42A7-B7D6-2663540B048D}" dt="2022-03-03T20:19:00.488" v="1484" actId="478"/>
          <ac:spMkLst>
            <pc:docMk/>
            <pc:sldMk cId="2969475038" sldId="2146846081"/>
            <ac:spMk id="5" creationId="{D9850037-D7A2-457D-9ADB-F7F097BCB3B1}"/>
          </ac:spMkLst>
        </pc:spChg>
        <pc:spChg chg="mod">
          <ac:chgData name="Bianca Naomy" userId="abf68bbe-83b2-4c0b-9325-ce8a54e5fdae" providerId="ADAL" clId="{3F3AB1CD-0917-42A7-B7D6-2663540B048D}" dt="2022-03-03T20:32:31.898" v="1710" actId="1076"/>
          <ac:spMkLst>
            <pc:docMk/>
            <pc:sldMk cId="2969475038" sldId="2146846081"/>
            <ac:spMk id="6" creationId="{3AB26AD5-1E43-44D0-A679-44D49EF8AA49}"/>
          </ac:spMkLst>
        </pc:spChg>
        <pc:spChg chg="del">
          <ac:chgData name="Bianca Naomy" userId="abf68bbe-83b2-4c0b-9325-ce8a54e5fdae" providerId="ADAL" clId="{3F3AB1CD-0917-42A7-B7D6-2663540B048D}" dt="2022-03-03T20:19:00.488" v="1484" actId="478"/>
          <ac:spMkLst>
            <pc:docMk/>
            <pc:sldMk cId="2969475038" sldId="2146846081"/>
            <ac:spMk id="7" creationId="{0E90C0D4-D0BD-45D6-BBF0-7A575360FB1A}"/>
          </ac:spMkLst>
        </pc:spChg>
        <pc:spChg chg="add mod">
          <ac:chgData name="Bianca Naomy" userId="abf68bbe-83b2-4c0b-9325-ce8a54e5fdae" providerId="ADAL" clId="{3F3AB1CD-0917-42A7-B7D6-2663540B048D}" dt="2022-03-03T20:30:17.998" v="1690" actId="164"/>
          <ac:spMkLst>
            <pc:docMk/>
            <pc:sldMk cId="2969475038" sldId="2146846081"/>
            <ac:spMk id="8" creationId="{1D7C792A-CC12-479D-8BB8-7678A646EA6C}"/>
          </ac:spMkLst>
        </pc:spChg>
        <pc:spChg chg="del">
          <ac:chgData name="Bianca Naomy" userId="abf68bbe-83b2-4c0b-9325-ce8a54e5fdae" providerId="ADAL" clId="{3F3AB1CD-0917-42A7-B7D6-2663540B048D}" dt="2022-03-03T20:19:10.626" v="1488" actId="478"/>
          <ac:spMkLst>
            <pc:docMk/>
            <pc:sldMk cId="2969475038" sldId="2146846081"/>
            <ac:spMk id="9" creationId="{D6CFA3F3-047A-4E73-9D8A-D29542D70083}"/>
          </ac:spMkLst>
        </pc:spChg>
        <pc:spChg chg="del">
          <ac:chgData name="Bianca Naomy" userId="abf68bbe-83b2-4c0b-9325-ce8a54e5fdae" providerId="ADAL" clId="{3F3AB1CD-0917-42A7-B7D6-2663540B048D}" dt="2022-03-03T20:19:08.263" v="1487" actId="478"/>
          <ac:spMkLst>
            <pc:docMk/>
            <pc:sldMk cId="2969475038" sldId="2146846081"/>
            <ac:spMk id="10" creationId="{A5B12F80-DF72-4288-96C7-59EB50B81B32}"/>
          </ac:spMkLst>
        </pc:spChg>
        <pc:spChg chg="add mod">
          <ac:chgData name="Bianca Naomy" userId="abf68bbe-83b2-4c0b-9325-ce8a54e5fdae" providerId="ADAL" clId="{3F3AB1CD-0917-42A7-B7D6-2663540B048D}" dt="2022-03-03T20:30:17.998" v="1690" actId="164"/>
          <ac:spMkLst>
            <pc:docMk/>
            <pc:sldMk cId="2969475038" sldId="2146846081"/>
            <ac:spMk id="11" creationId="{3851A96E-5BEA-49F6-AE48-7397556F5891}"/>
          </ac:spMkLst>
        </pc:spChg>
        <pc:spChg chg="del">
          <ac:chgData name="Bianca Naomy" userId="abf68bbe-83b2-4c0b-9325-ce8a54e5fdae" providerId="ADAL" clId="{3F3AB1CD-0917-42A7-B7D6-2663540B048D}" dt="2022-03-03T20:19:00.488" v="1484" actId="478"/>
          <ac:spMkLst>
            <pc:docMk/>
            <pc:sldMk cId="2969475038" sldId="2146846081"/>
            <ac:spMk id="12" creationId="{1503C958-514F-4ADD-B389-5EE838BE0E8D}"/>
          </ac:spMkLst>
        </pc:spChg>
        <pc:spChg chg="add mod">
          <ac:chgData name="Bianca Naomy" userId="abf68bbe-83b2-4c0b-9325-ce8a54e5fdae" providerId="ADAL" clId="{3F3AB1CD-0917-42A7-B7D6-2663540B048D}" dt="2022-03-03T20:30:17.998" v="1690" actId="164"/>
          <ac:spMkLst>
            <pc:docMk/>
            <pc:sldMk cId="2969475038" sldId="2146846081"/>
            <ac:spMk id="13" creationId="{2C6C05C7-5EE8-42E2-9973-FC5C6DD24E02}"/>
          </ac:spMkLst>
        </pc:spChg>
        <pc:spChg chg="del">
          <ac:chgData name="Bianca Naomy" userId="abf68bbe-83b2-4c0b-9325-ce8a54e5fdae" providerId="ADAL" clId="{3F3AB1CD-0917-42A7-B7D6-2663540B048D}" dt="2022-03-03T20:19:08.263" v="1487" actId="478"/>
          <ac:spMkLst>
            <pc:docMk/>
            <pc:sldMk cId="2969475038" sldId="2146846081"/>
            <ac:spMk id="14" creationId="{D8765F51-A91F-41A2-BA58-C1866FD9464B}"/>
          </ac:spMkLst>
        </pc:spChg>
        <pc:spChg chg="add mod">
          <ac:chgData name="Bianca Naomy" userId="abf68bbe-83b2-4c0b-9325-ce8a54e5fdae" providerId="ADAL" clId="{3F3AB1CD-0917-42A7-B7D6-2663540B048D}" dt="2022-03-03T20:30:17.998" v="1690" actId="164"/>
          <ac:spMkLst>
            <pc:docMk/>
            <pc:sldMk cId="2969475038" sldId="2146846081"/>
            <ac:spMk id="15" creationId="{691A9BEF-640C-469B-8749-56C2FEB65340}"/>
          </ac:spMkLst>
        </pc:spChg>
        <pc:spChg chg="add mod">
          <ac:chgData name="Bianca Naomy" userId="abf68bbe-83b2-4c0b-9325-ce8a54e5fdae" providerId="ADAL" clId="{3F3AB1CD-0917-42A7-B7D6-2663540B048D}" dt="2022-03-03T20:30:17.998" v="1690" actId="164"/>
          <ac:spMkLst>
            <pc:docMk/>
            <pc:sldMk cId="2969475038" sldId="2146846081"/>
            <ac:spMk id="16" creationId="{5C1E48BA-319A-46FE-AD4D-EE9089AE53C8}"/>
          </ac:spMkLst>
        </pc:spChg>
        <pc:spChg chg="add mod">
          <ac:chgData name="Bianca Naomy" userId="abf68bbe-83b2-4c0b-9325-ce8a54e5fdae" providerId="ADAL" clId="{3F3AB1CD-0917-42A7-B7D6-2663540B048D}" dt="2022-03-03T20:30:17.998" v="1690" actId="164"/>
          <ac:spMkLst>
            <pc:docMk/>
            <pc:sldMk cId="2969475038" sldId="2146846081"/>
            <ac:spMk id="17" creationId="{FF77C336-C7D1-4485-8108-03064933CD75}"/>
          </ac:spMkLst>
        </pc:spChg>
        <pc:spChg chg="add mod">
          <ac:chgData name="Bianca Naomy" userId="abf68bbe-83b2-4c0b-9325-ce8a54e5fdae" providerId="ADAL" clId="{3F3AB1CD-0917-42A7-B7D6-2663540B048D}" dt="2022-03-03T20:30:17.998" v="1690" actId="164"/>
          <ac:spMkLst>
            <pc:docMk/>
            <pc:sldMk cId="2969475038" sldId="2146846081"/>
            <ac:spMk id="18" creationId="{624147BD-B1E0-4DB3-93A0-BC1D277441F2}"/>
          </ac:spMkLst>
        </pc:spChg>
        <pc:spChg chg="add mod">
          <ac:chgData name="Bianca Naomy" userId="abf68bbe-83b2-4c0b-9325-ce8a54e5fdae" providerId="ADAL" clId="{3F3AB1CD-0917-42A7-B7D6-2663540B048D}" dt="2022-03-03T20:30:17.998" v="1690" actId="164"/>
          <ac:spMkLst>
            <pc:docMk/>
            <pc:sldMk cId="2969475038" sldId="2146846081"/>
            <ac:spMk id="19" creationId="{3883DB4B-29D0-45E8-B590-95D75609FCB9}"/>
          </ac:spMkLst>
        </pc:spChg>
        <pc:spChg chg="add mod">
          <ac:chgData name="Bianca Naomy" userId="abf68bbe-83b2-4c0b-9325-ce8a54e5fdae" providerId="ADAL" clId="{3F3AB1CD-0917-42A7-B7D6-2663540B048D}" dt="2022-03-03T20:30:17.998" v="1690" actId="164"/>
          <ac:spMkLst>
            <pc:docMk/>
            <pc:sldMk cId="2969475038" sldId="2146846081"/>
            <ac:spMk id="20" creationId="{2D2C9E22-4796-41C6-81A9-E3D0FD229542}"/>
          </ac:spMkLst>
        </pc:spChg>
        <pc:spChg chg="add del">
          <ac:chgData name="Bianca Naomy" userId="abf68bbe-83b2-4c0b-9325-ce8a54e5fdae" providerId="ADAL" clId="{3F3AB1CD-0917-42A7-B7D6-2663540B048D}" dt="2022-03-03T20:26:49.276" v="1678" actId="478"/>
          <ac:spMkLst>
            <pc:docMk/>
            <pc:sldMk cId="2969475038" sldId="2146846081"/>
            <ac:spMk id="39" creationId="{779D3A90-0415-4A18-807B-5271A6749E23}"/>
          </ac:spMkLst>
        </pc:spChg>
        <pc:spChg chg="add mod">
          <ac:chgData name="Bianca Naomy" userId="abf68bbe-83b2-4c0b-9325-ce8a54e5fdae" providerId="ADAL" clId="{3F3AB1CD-0917-42A7-B7D6-2663540B048D}" dt="2022-03-03T20:31:57.875" v="1704" actId="164"/>
          <ac:spMkLst>
            <pc:docMk/>
            <pc:sldMk cId="2969475038" sldId="2146846081"/>
            <ac:spMk id="42" creationId="{19380C9B-01AE-4F68-9C5E-929D539D9599}"/>
          </ac:spMkLst>
        </pc:spChg>
        <pc:grpChg chg="add mod">
          <ac:chgData name="Bianca Naomy" userId="abf68bbe-83b2-4c0b-9325-ce8a54e5fdae" providerId="ADAL" clId="{3F3AB1CD-0917-42A7-B7D6-2663540B048D}" dt="2022-03-03T20:31:57.875" v="1704" actId="164"/>
          <ac:grpSpMkLst>
            <pc:docMk/>
            <pc:sldMk cId="2969475038" sldId="2146846081"/>
            <ac:grpSpMk id="41" creationId="{2A5EA2E2-75B7-471C-A88D-716B79676EA2}"/>
          </ac:grpSpMkLst>
        </pc:grpChg>
        <pc:grpChg chg="add mod">
          <ac:chgData name="Bianca Naomy" userId="abf68bbe-83b2-4c0b-9325-ce8a54e5fdae" providerId="ADAL" clId="{3F3AB1CD-0917-42A7-B7D6-2663540B048D}" dt="2022-03-03T20:32:03.829" v="1705" actId="1076"/>
          <ac:grpSpMkLst>
            <pc:docMk/>
            <pc:sldMk cId="2969475038" sldId="2146846081"/>
            <ac:grpSpMk id="45" creationId="{DD6B3569-7EE4-441B-B5B3-5E06AE9395FE}"/>
          </ac:grpSpMkLst>
        </pc:grpChg>
        <pc:graphicFrameChg chg="add del mod modGraphic">
          <ac:chgData name="Bianca Naomy" userId="abf68bbe-83b2-4c0b-9325-ce8a54e5fdae" providerId="ADAL" clId="{3F3AB1CD-0917-42A7-B7D6-2663540B048D}" dt="2022-03-03T20:20:18.263" v="1507" actId="478"/>
          <ac:graphicFrameMkLst>
            <pc:docMk/>
            <pc:sldMk cId="2969475038" sldId="2146846081"/>
            <ac:graphicFrameMk id="2" creationId="{01A3FA9B-7E79-46F9-A55F-B85C5F42D693}"/>
          </ac:graphicFrameMkLst>
        </pc:graphicFrameChg>
        <pc:cxnChg chg="add mod">
          <ac:chgData name="Bianca Naomy" userId="abf68bbe-83b2-4c0b-9325-ce8a54e5fdae" providerId="ADAL" clId="{3F3AB1CD-0917-42A7-B7D6-2663540B048D}" dt="2022-03-03T20:30:17.998" v="1690" actId="164"/>
          <ac:cxnSpMkLst>
            <pc:docMk/>
            <pc:sldMk cId="2969475038" sldId="2146846081"/>
            <ac:cxnSpMk id="22" creationId="{A4B1105F-EB80-47DC-9E10-7E951DF1CA8F}"/>
          </ac:cxnSpMkLst>
        </pc:cxnChg>
        <pc:cxnChg chg="add mod">
          <ac:chgData name="Bianca Naomy" userId="abf68bbe-83b2-4c0b-9325-ce8a54e5fdae" providerId="ADAL" clId="{3F3AB1CD-0917-42A7-B7D6-2663540B048D}" dt="2022-03-03T20:30:17.998" v="1690" actId="164"/>
          <ac:cxnSpMkLst>
            <pc:docMk/>
            <pc:sldMk cId="2969475038" sldId="2146846081"/>
            <ac:cxnSpMk id="24" creationId="{D4D6551A-11D7-48DA-8579-96516871FAA8}"/>
          </ac:cxnSpMkLst>
        </pc:cxnChg>
        <pc:cxnChg chg="add mod">
          <ac:chgData name="Bianca Naomy" userId="abf68bbe-83b2-4c0b-9325-ce8a54e5fdae" providerId="ADAL" clId="{3F3AB1CD-0917-42A7-B7D6-2663540B048D}" dt="2022-03-03T20:30:17.998" v="1690" actId="164"/>
          <ac:cxnSpMkLst>
            <pc:docMk/>
            <pc:sldMk cId="2969475038" sldId="2146846081"/>
            <ac:cxnSpMk id="26" creationId="{25485FDE-63EE-4C61-B512-648078940060}"/>
          </ac:cxnSpMkLst>
        </pc:cxnChg>
        <pc:cxnChg chg="add mod">
          <ac:chgData name="Bianca Naomy" userId="abf68bbe-83b2-4c0b-9325-ce8a54e5fdae" providerId="ADAL" clId="{3F3AB1CD-0917-42A7-B7D6-2663540B048D}" dt="2022-03-03T20:30:17.998" v="1690" actId="164"/>
          <ac:cxnSpMkLst>
            <pc:docMk/>
            <pc:sldMk cId="2969475038" sldId="2146846081"/>
            <ac:cxnSpMk id="29" creationId="{FE99AAB1-A30D-42D5-95C3-37DF300A0733}"/>
          </ac:cxnSpMkLst>
        </pc:cxnChg>
        <pc:cxnChg chg="add mod">
          <ac:chgData name="Bianca Naomy" userId="abf68bbe-83b2-4c0b-9325-ce8a54e5fdae" providerId="ADAL" clId="{3F3AB1CD-0917-42A7-B7D6-2663540B048D}" dt="2022-03-03T20:30:17.998" v="1690" actId="164"/>
          <ac:cxnSpMkLst>
            <pc:docMk/>
            <pc:sldMk cId="2969475038" sldId="2146846081"/>
            <ac:cxnSpMk id="34" creationId="{324139A5-BAEC-4729-8353-4D68B5552021}"/>
          </ac:cxnSpMkLst>
        </pc:cxnChg>
        <pc:cxnChg chg="add mod">
          <ac:chgData name="Bianca Naomy" userId="abf68bbe-83b2-4c0b-9325-ce8a54e5fdae" providerId="ADAL" clId="{3F3AB1CD-0917-42A7-B7D6-2663540B048D}" dt="2022-03-03T20:30:17.998" v="1690" actId="164"/>
          <ac:cxnSpMkLst>
            <pc:docMk/>
            <pc:sldMk cId="2969475038" sldId="2146846081"/>
            <ac:cxnSpMk id="36" creationId="{3113F515-4AF6-49AF-9B19-0FD47AFD3ABC}"/>
          </ac:cxnSpMkLst>
        </pc:cxnChg>
        <pc:cxnChg chg="add mod">
          <ac:chgData name="Bianca Naomy" userId="abf68bbe-83b2-4c0b-9325-ce8a54e5fdae" providerId="ADAL" clId="{3F3AB1CD-0917-42A7-B7D6-2663540B048D}" dt="2022-03-03T20:31:57.875" v="1704" actId="164"/>
          <ac:cxnSpMkLst>
            <pc:docMk/>
            <pc:sldMk cId="2969475038" sldId="2146846081"/>
            <ac:cxnSpMk id="44" creationId="{125A0611-0E42-4733-A100-1A069CAD8BBC}"/>
          </ac:cxnSpMkLst>
        </pc:cxnChg>
      </pc:sldChg>
      <pc:sldChg chg="addSp modSp add mod">
        <pc:chgData name="Bianca Naomy" userId="abf68bbe-83b2-4c0b-9325-ce8a54e5fdae" providerId="ADAL" clId="{3F3AB1CD-0917-42A7-B7D6-2663540B048D}" dt="2022-03-04T13:17:42.563" v="1935" actId="20577"/>
        <pc:sldMkLst>
          <pc:docMk/>
          <pc:sldMk cId="2761840669" sldId="2146846082"/>
        </pc:sldMkLst>
        <pc:spChg chg="mod">
          <ac:chgData name="Bianca Naomy" userId="abf68bbe-83b2-4c0b-9325-ce8a54e5fdae" providerId="ADAL" clId="{3F3AB1CD-0917-42A7-B7D6-2663540B048D}" dt="2022-03-04T13:03:31.041" v="1861" actId="20577"/>
          <ac:spMkLst>
            <pc:docMk/>
            <pc:sldMk cId="2761840669" sldId="2146846082"/>
            <ac:spMk id="3" creationId="{D27D7BD4-79A4-4F74-AEDD-B6DF3D38FA7F}"/>
          </ac:spMkLst>
        </pc:spChg>
        <pc:spChg chg="add mod">
          <ac:chgData name="Bianca Naomy" userId="abf68bbe-83b2-4c0b-9325-ce8a54e5fdae" providerId="ADAL" clId="{3F3AB1CD-0917-42A7-B7D6-2663540B048D}" dt="2022-03-04T13:17:42.563" v="1935" actId="20577"/>
          <ac:spMkLst>
            <pc:docMk/>
            <pc:sldMk cId="2761840669" sldId="2146846082"/>
            <ac:spMk id="4" creationId="{0BA3A87C-2F0F-4D42-BD03-836DB402C5B9}"/>
          </ac:spMkLst>
        </pc:spChg>
      </pc:sldChg>
      <pc:sldChg chg="addSp delSp modSp add mod">
        <pc:chgData name="Bianca Naomy" userId="abf68bbe-83b2-4c0b-9325-ce8a54e5fdae" providerId="ADAL" clId="{3F3AB1CD-0917-42A7-B7D6-2663540B048D}" dt="2022-03-04T14:29:44.819" v="2441" actId="1076"/>
        <pc:sldMkLst>
          <pc:docMk/>
          <pc:sldMk cId="4029788326" sldId="2146846083"/>
        </pc:sldMkLst>
        <pc:spChg chg="del">
          <ac:chgData name="Bianca Naomy" userId="abf68bbe-83b2-4c0b-9325-ce8a54e5fdae" providerId="ADAL" clId="{3F3AB1CD-0917-42A7-B7D6-2663540B048D}" dt="2022-03-04T13:55:34.841" v="2065" actId="478"/>
          <ac:spMkLst>
            <pc:docMk/>
            <pc:sldMk cId="4029788326" sldId="2146846083"/>
            <ac:spMk id="4" creationId="{7504F8EF-3D40-4067-9FEF-5028299DDC11}"/>
          </ac:spMkLst>
        </pc:spChg>
        <pc:spChg chg="del">
          <ac:chgData name="Bianca Naomy" userId="abf68bbe-83b2-4c0b-9325-ce8a54e5fdae" providerId="ADAL" clId="{3F3AB1CD-0917-42A7-B7D6-2663540B048D}" dt="2022-03-04T13:55:34.841" v="2065" actId="478"/>
          <ac:spMkLst>
            <pc:docMk/>
            <pc:sldMk cId="4029788326" sldId="2146846083"/>
            <ac:spMk id="5" creationId="{D9850037-D7A2-457D-9ADB-F7F097BCB3B1}"/>
          </ac:spMkLst>
        </pc:spChg>
        <pc:spChg chg="del">
          <ac:chgData name="Bianca Naomy" userId="abf68bbe-83b2-4c0b-9325-ce8a54e5fdae" providerId="ADAL" clId="{3F3AB1CD-0917-42A7-B7D6-2663540B048D}" dt="2022-03-04T13:55:34.841" v="2065" actId="478"/>
          <ac:spMkLst>
            <pc:docMk/>
            <pc:sldMk cId="4029788326" sldId="2146846083"/>
            <ac:spMk id="7" creationId="{0E90C0D4-D0BD-45D6-BBF0-7A575360FB1A}"/>
          </ac:spMkLst>
        </pc:spChg>
        <pc:spChg chg="add mod">
          <ac:chgData name="Bianca Naomy" userId="abf68bbe-83b2-4c0b-9325-ce8a54e5fdae" providerId="ADAL" clId="{3F3AB1CD-0917-42A7-B7D6-2663540B048D}" dt="2022-03-04T13:56:46.248" v="2087" actId="13926"/>
          <ac:spMkLst>
            <pc:docMk/>
            <pc:sldMk cId="4029788326" sldId="2146846083"/>
            <ac:spMk id="8" creationId="{D1947B6B-EFAD-42C4-85AB-0C7271687C2F}"/>
          </ac:spMkLst>
        </pc:spChg>
        <pc:spChg chg="add mod">
          <ac:chgData name="Bianca Naomy" userId="abf68bbe-83b2-4c0b-9325-ce8a54e5fdae" providerId="ADAL" clId="{3F3AB1CD-0917-42A7-B7D6-2663540B048D}" dt="2022-03-04T14:29:36.602" v="2437" actId="1076"/>
          <ac:spMkLst>
            <pc:docMk/>
            <pc:sldMk cId="4029788326" sldId="2146846083"/>
            <ac:spMk id="9" creationId="{1A1CC5CF-E4A9-4228-8D28-E17457198A43}"/>
          </ac:spMkLst>
        </pc:spChg>
        <pc:spChg chg="mod">
          <ac:chgData name="Bianca Naomy" userId="abf68bbe-83b2-4c0b-9325-ce8a54e5fdae" providerId="ADAL" clId="{3F3AB1CD-0917-42A7-B7D6-2663540B048D}" dt="2022-03-04T14:29:44.819" v="2441" actId="1076"/>
          <ac:spMkLst>
            <pc:docMk/>
            <pc:sldMk cId="4029788326" sldId="2146846083"/>
            <ac:spMk id="10" creationId="{A5B12F80-DF72-4288-96C7-59EB50B81B32}"/>
          </ac:spMkLst>
        </pc:spChg>
        <pc:spChg chg="del">
          <ac:chgData name="Bianca Naomy" userId="abf68bbe-83b2-4c0b-9325-ce8a54e5fdae" providerId="ADAL" clId="{3F3AB1CD-0917-42A7-B7D6-2663540B048D}" dt="2022-03-04T13:55:34.841" v="2065" actId="478"/>
          <ac:spMkLst>
            <pc:docMk/>
            <pc:sldMk cId="4029788326" sldId="2146846083"/>
            <ac:spMk id="12" creationId="{1503C958-514F-4ADD-B389-5EE838BE0E8D}"/>
          </ac:spMkLst>
        </pc:spChg>
      </pc:sldChg>
      <pc:sldChg chg="addSp delSp modSp add del mod">
        <pc:chgData name="Bianca Naomy" userId="abf68bbe-83b2-4c0b-9325-ce8a54e5fdae" providerId="ADAL" clId="{3F3AB1CD-0917-42A7-B7D6-2663540B048D}" dt="2022-03-04T14:20:44.706" v="2283" actId="47"/>
        <pc:sldMkLst>
          <pc:docMk/>
          <pc:sldMk cId="2938600858" sldId="2146846084"/>
        </pc:sldMkLst>
        <pc:spChg chg="mod">
          <ac:chgData name="Bianca Naomy" userId="abf68bbe-83b2-4c0b-9325-ce8a54e5fdae" providerId="ADAL" clId="{3F3AB1CD-0917-42A7-B7D6-2663540B048D}" dt="2022-03-04T14:02:30.440" v="2137" actId="20577"/>
          <ac:spMkLst>
            <pc:docMk/>
            <pc:sldMk cId="2938600858" sldId="2146846084"/>
            <ac:spMk id="3" creationId="{D27D7BD4-79A4-4F74-AEDD-B6DF3D38FA7F}"/>
          </ac:spMkLst>
        </pc:spChg>
        <pc:spChg chg="add mod">
          <ac:chgData name="Bianca Naomy" userId="abf68bbe-83b2-4c0b-9325-ce8a54e5fdae" providerId="ADAL" clId="{3F3AB1CD-0917-42A7-B7D6-2663540B048D}" dt="2022-03-04T14:13:11.716" v="2164" actId="1076"/>
          <ac:spMkLst>
            <pc:docMk/>
            <pc:sldMk cId="2938600858" sldId="2146846084"/>
            <ac:spMk id="20" creationId="{4638D83B-B0A3-46E5-A1ED-BDF11A3CF4F2}"/>
          </ac:spMkLst>
        </pc:spChg>
        <pc:spChg chg="add mod">
          <ac:chgData name="Bianca Naomy" userId="abf68bbe-83b2-4c0b-9325-ce8a54e5fdae" providerId="ADAL" clId="{3F3AB1CD-0917-42A7-B7D6-2663540B048D}" dt="2022-03-04T14:13:59.454" v="2245" actId="114"/>
          <ac:spMkLst>
            <pc:docMk/>
            <pc:sldMk cId="2938600858" sldId="2146846084"/>
            <ac:spMk id="21" creationId="{3C175686-E1E0-449D-93A9-5F194FE56602}"/>
          </ac:spMkLst>
        </pc:spChg>
        <pc:spChg chg="del">
          <ac:chgData name="Bianca Naomy" userId="abf68bbe-83b2-4c0b-9325-ce8a54e5fdae" providerId="ADAL" clId="{3F3AB1CD-0917-42A7-B7D6-2663540B048D}" dt="2022-03-04T14:02:33.655" v="2138" actId="478"/>
          <ac:spMkLst>
            <pc:docMk/>
            <pc:sldMk cId="2938600858" sldId="2146846084"/>
            <ac:spMk id="22" creationId="{CBEC229F-1C20-4AA7-A2AE-C210AF86D9A8}"/>
          </ac:spMkLst>
        </pc:spChg>
        <pc:spChg chg="mod">
          <ac:chgData name="Bianca Naomy" userId="abf68bbe-83b2-4c0b-9325-ce8a54e5fdae" providerId="ADAL" clId="{3F3AB1CD-0917-42A7-B7D6-2663540B048D}" dt="2022-03-04T14:05:30.551" v="2147" actId="1076"/>
          <ac:spMkLst>
            <pc:docMk/>
            <pc:sldMk cId="2938600858" sldId="2146846084"/>
            <ac:spMk id="54" creationId="{CA33CA92-6C9A-4BBF-A9CA-3EB3057DD5D4}"/>
          </ac:spMkLst>
        </pc:spChg>
        <pc:grpChg chg="del">
          <ac:chgData name="Bianca Naomy" userId="abf68bbe-83b2-4c0b-9325-ce8a54e5fdae" providerId="ADAL" clId="{3F3AB1CD-0917-42A7-B7D6-2663540B048D}" dt="2022-03-04T14:01:09.404" v="2105" actId="478"/>
          <ac:grpSpMkLst>
            <pc:docMk/>
            <pc:sldMk cId="2938600858" sldId="2146846084"/>
            <ac:grpSpMk id="7" creationId="{80E7C45C-7072-4B11-99EE-90D286C673E1}"/>
          </ac:grpSpMkLst>
        </pc:grpChg>
        <pc:grpChg chg="del">
          <ac:chgData name="Bianca Naomy" userId="abf68bbe-83b2-4c0b-9325-ce8a54e5fdae" providerId="ADAL" clId="{3F3AB1CD-0917-42A7-B7D6-2663540B048D}" dt="2022-03-04T14:02:06.086" v="2119" actId="478"/>
          <ac:grpSpMkLst>
            <pc:docMk/>
            <pc:sldMk cId="2938600858" sldId="2146846084"/>
            <ac:grpSpMk id="66" creationId="{D318F929-8C14-45A1-BEFB-74C0BDA9F4D8}"/>
          </ac:grpSpMkLst>
        </pc:grpChg>
      </pc:sldChg>
      <pc:sldChg chg="addSp modSp add mod">
        <pc:chgData name="Bianca Naomy" userId="abf68bbe-83b2-4c0b-9325-ce8a54e5fdae" providerId="ADAL" clId="{3F3AB1CD-0917-42A7-B7D6-2663540B048D}" dt="2022-03-04T14:19:52.734" v="2282" actId="1035"/>
        <pc:sldMkLst>
          <pc:docMk/>
          <pc:sldMk cId="1230900351" sldId="2146846085"/>
        </pc:sldMkLst>
        <pc:spChg chg="add mod">
          <ac:chgData name="Bianca Naomy" userId="abf68bbe-83b2-4c0b-9325-ce8a54e5fdae" providerId="ADAL" clId="{3F3AB1CD-0917-42A7-B7D6-2663540B048D}" dt="2022-03-04T14:19:52.734" v="2282" actId="1035"/>
          <ac:spMkLst>
            <pc:docMk/>
            <pc:sldMk cId="1230900351" sldId="2146846085"/>
            <ac:spMk id="2" creationId="{28F08B2A-AE79-4B31-B3B0-9849E5F3478F}"/>
          </ac:spMkLst>
        </pc:spChg>
        <pc:spChg chg="add mod">
          <ac:chgData name="Bianca Naomy" userId="abf68bbe-83b2-4c0b-9325-ce8a54e5fdae" providerId="ADAL" clId="{3F3AB1CD-0917-42A7-B7D6-2663540B048D}" dt="2022-03-04T14:19:52.734" v="2282" actId="1035"/>
          <ac:spMkLst>
            <pc:docMk/>
            <pc:sldMk cId="1230900351" sldId="2146846085"/>
            <ac:spMk id="7" creationId="{DD47F853-72D6-4609-A6AF-45D3FE3D5F78}"/>
          </ac:spMkLst>
        </pc:spChg>
        <pc:spChg chg="mod">
          <ac:chgData name="Bianca Naomy" userId="abf68bbe-83b2-4c0b-9325-ce8a54e5fdae" providerId="ADAL" clId="{3F3AB1CD-0917-42A7-B7D6-2663540B048D}" dt="2022-03-04T14:19:52.734" v="2282" actId="1035"/>
          <ac:spMkLst>
            <pc:docMk/>
            <pc:sldMk cId="1230900351" sldId="2146846085"/>
            <ac:spMk id="20" creationId="{4638D83B-B0A3-46E5-A1ED-BDF11A3CF4F2}"/>
          </ac:spMkLst>
        </pc:spChg>
        <pc:spChg chg="mod">
          <ac:chgData name="Bianca Naomy" userId="abf68bbe-83b2-4c0b-9325-ce8a54e5fdae" providerId="ADAL" clId="{3F3AB1CD-0917-42A7-B7D6-2663540B048D}" dt="2022-03-04T14:19:52.734" v="2282" actId="1035"/>
          <ac:spMkLst>
            <pc:docMk/>
            <pc:sldMk cId="1230900351" sldId="2146846085"/>
            <ac:spMk id="21" creationId="{3C175686-E1E0-449D-93A9-5F194FE56602}"/>
          </ac:spMkLst>
        </pc:spChg>
      </pc:sldChg>
      <pc:sldChg chg="addSp modSp add mod ord">
        <pc:chgData name="Bianca Naomy" userId="abf68bbe-83b2-4c0b-9325-ce8a54e5fdae" providerId="ADAL" clId="{3F3AB1CD-0917-42A7-B7D6-2663540B048D}" dt="2022-03-04T19:20:42.441" v="2485" actId="14100"/>
        <pc:sldMkLst>
          <pc:docMk/>
          <pc:sldMk cId="2851014050" sldId="2146846086"/>
        </pc:sldMkLst>
        <pc:spChg chg="mod">
          <ac:chgData name="Bianca Naomy" userId="abf68bbe-83b2-4c0b-9325-ce8a54e5fdae" providerId="ADAL" clId="{3F3AB1CD-0917-42A7-B7D6-2663540B048D}" dt="2022-03-04T15:54:25.164" v="2442" actId="20577"/>
          <ac:spMkLst>
            <pc:docMk/>
            <pc:sldMk cId="2851014050" sldId="2146846086"/>
            <ac:spMk id="3" creationId="{D27D7BD4-79A4-4F74-AEDD-B6DF3D38FA7F}"/>
          </ac:spMkLst>
        </pc:spChg>
        <pc:spChg chg="add mod">
          <ac:chgData name="Bianca Naomy" userId="abf68bbe-83b2-4c0b-9325-ce8a54e5fdae" providerId="ADAL" clId="{3F3AB1CD-0917-42A7-B7D6-2663540B048D}" dt="2022-03-04T19:20:42.441" v="2485" actId="14100"/>
          <ac:spMkLst>
            <pc:docMk/>
            <pc:sldMk cId="2851014050" sldId="2146846086"/>
            <ac:spMk id="4" creationId="{CB7FC126-B18B-4488-BEC7-75909B7023CC}"/>
          </ac:spMkLst>
        </pc:spChg>
      </pc:sldChg>
    </pc:docChg>
  </pc:docChgLst>
  <pc:docChgLst>
    <pc:chgData name="Katerine Schifino" userId="37bb67de-9fcf-4611-888c-7e5b58184a2a" providerId="ADAL" clId="{FFC930EA-DB3B-4BF8-A71B-329AD02E46CE}"/>
    <pc:docChg chg="undo redo custSel addSld delSld modSld sldOrd">
      <pc:chgData name="Katerine Schifino" userId="37bb67de-9fcf-4611-888c-7e5b58184a2a" providerId="ADAL" clId="{FFC930EA-DB3B-4BF8-A71B-329AD02E46CE}" dt="2022-03-18T21:23:18.224" v="7960" actId="6549"/>
      <pc:docMkLst>
        <pc:docMk/>
      </pc:docMkLst>
      <pc:sldChg chg="addSp delSp modSp mod">
        <pc:chgData name="Katerine Schifino" userId="37bb67de-9fcf-4611-888c-7e5b58184a2a" providerId="ADAL" clId="{FFC930EA-DB3B-4BF8-A71B-329AD02E46CE}" dt="2022-03-15T22:53:14.748" v="323" actId="1076"/>
        <pc:sldMkLst>
          <pc:docMk/>
          <pc:sldMk cId="4072131230" sldId="2080108012"/>
        </pc:sldMkLst>
        <pc:spChg chg="mod">
          <ac:chgData name="Katerine Schifino" userId="37bb67de-9fcf-4611-888c-7e5b58184a2a" providerId="ADAL" clId="{FFC930EA-DB3B-4BF8-A71B-329AD02E46CE}" dt="2022-03-15T22:53:14.748" v="323" actId="1076"/>
          <ac:spMkLst>
            <pc:docMk/>
            <pc:sldMk cId="4072131230" sldId="2080108012"/>
            <ac:spMk id="3" creationId="{FEA9F600-57E1-444E-9B65-D38B4F85ADE7}"/>
          </ac:spMkLst>
        </pc:spChg>
        <pc:picChg chg="add del mod">
          <ac:chgData name="Katerine Schifino" userId="37bb67de-9fcf-4611-888c-7e5b58184a2a" providerId="ADAL" clId="{FFC930EA-DB3B-4BF8-A71B-329AD02E46CE}" dt="2022-03-15T22:51:32.748" v="310" actId="478"/>
          <ac:picMkLst>
            <pc:docMk/>
            <pc:sldMk cId="4072131230" sldId="2080108012"/>
            <ac:picMk id="5" creationId="{2FA67C5B-53B4-4038-8EA8-AAF9DE7D49D5}"/>
          </ac:picMkLst>
        </pc:picChg>
        <pc:picChg chg="del">
          <ac:chgData name="Katerine Schifino" userId="37bb67de-9fcf-4611-888c-7e5b58184a2a" providerId="ADAL" clId="{FFC930EA-DB3B-4BF8-A71B-329AD02E46CE}" dt="2022-03-15T22:45:52.408" v="304" actId="478"/>
          <ac:picMkLst>
            <pc:docMk/>
            <pc:sldMk cId="4072131230" sldId="2080108012"/>
            <ac:picMk id="6" creationId="{15AEC880-6424-4D2D-A43F-EB21D5E3EE22}"/>
          </ac:picMkLst>
        </pc:picChg>
        <pc:picChg chg="add mod">
          <ac:chgData name="Katerine Schifino" userId="37bb67de-9fcf-4611-888c-7e5b58184a2a" providerId="ADAL" clId="{FFC930EA-DB3B-4BF8-A71B-329AD02E46CE}" dt="2022-03-15T22:53:01.694" v="320" actId="1076"/>
          <ac:picMkLst>
            <pc:docMk/>
            <pc:sldMk cId="4072131230" sldId="2080108012"/>
            <ac:picMk id="8" creationId="{9FBE4C97-13A0-4A23-ABE2-CE9F038F9696}"/>
          </ac:picMkLst>
        </pc:picChg>
      </pc:sldChg>
      <pc:sldChg chg="modSp mod">
        <pc:chgData name="Katerine Schifino" userId="37bb67de-9fcf-4611-888c-7e5b58184a2a" providerId="ADAL" clId="{FFC930EA-DB3B-4BF8-A71B-329AD02E46CE}" dt="2022-03-18T20:47:04.502" v="7444" actId="20577"/>
        <pc:sldMkLst>
          <pc:docMk/>
          <pc:sldMk cId="3366330402" sldId="2080108015"/>
        </pc:sldMkLst>
        <pc:graphicFrameChg chg="mod modGraphic">
          <ac:chgData name="Katerine Schifino" userId="37bb67de-9fcf-4611-888c-7e5b58184a2a" providerId="ADAL" clId="{FFC930EA-DB3B-4BF8-A71B-329AD02E46CE}" dt="2022-03-18T20:47:04.502" v="7444" actId="20577"/>
          <ac:graphicFrameMkLst>
            <pc:docMk/>
            <pc:sldMk cId="3366330402" sldId="2080108015"/>
            <ac:graphicFrameMk id="2" creationId="{DABEA71B-03AC-48AD-8E3A-F5B4F36922D0}"/>
          </ac:graphicFrameMkLst>
        </pc:graphicFrameChg>
      </pc:sldChg>
      <pc:sldChg chg="del">
        <pc:chgData name="Katerine Schifino" userId="37bb67de-9fcf-4611-888c-7e5b58184a2a" providerId="ADAL" clId="{FFC930EA-DB3B-4BF8-A71B-329AD02E46CE}" dt="2022-03-14T21:48:12.393" v="206" actId="47"/>
        <pc:sldMkLst>
          <pc:docMk/>
          <pc:sldMk cId="1426497053" sldId="2080108116"/>
        </pc:sldMkLst>
      </pc:sldChg>
      <pc:sldChg chg="modSp del mod">
        <pc:chgData name="Katerine Schifino" userId="37bb67de-9fcf-4611-888c-7e5b58184a2a" providerId="ADAL" clId="{FFC930EA-DB3B-4BF8-A71B-329AD02E46CE}" dt="2022-03-18T16:02:28.185" v="7297" actId="47"/>
        <pc:sldMkLst>
          <pc:docMk/>
          <pc:sldMk cId="4057349764" sldId="2146846065"/>
        </pc:sldMkLst>
        <pc:graphicFrameChg chg="modGraphic">
          <ac:chgData name="Katerine Schifino" userId="37bb67de-9fcf-4611-888c-7e5b58184a2a" providerId="ADAL" clId="{FFC930EA-DB3B-4BF8-A71B-329AD02E46CE}" dt="2022-03-14T21:32:02.810" v="78" actId="2165"/>
          <ac:graphicFrameMkLst>
            <pc:docMk/>
            <pc:sldMk cId="4057349764" sldId="2146846065"/>
            <ac:graphicFrameMk id="2" creationId="{DABEA71B-03AC-48AD-8E3A-F5B4F36922D0}"/>
          </ac:graphicFrameMkLst>
        </pc:graphicFrameChg>
      </pc:sldChg>
      <pc:sldChg chg="modSp del mod ord modNotesTx">
        <pc:chgData name="Katerine Schifino" userId="37bb67de-9fcf-4611-888c-7e5b58184a2a" providerId="ADAL" clId="{FFC930EA-DB3B-4BF8-A71B-329AD02E46CE}" dt="2022-03-16T22:44:09.981" v="2507" actId="47"/>
        <pc:sldMkLst>
          <pc:docMk/>
          <pc:sldMk cId="3769645891" sldId="2146846068"/>
        </pc:sldMkLst>
        <pc:spChg chg="mod">
          <ac:chgData name="Katerine Schifino" userId="37bb67de-9fcf-4611-888c-7e5b58184a2a" providerId="ADAL" clId="{FFC930EA-DB3B-4BF8-A71B-329AD02E46CE}" dt="2022-03-14T21:48:27.137" v="211" actId="14100"/>
          <ac:spMkLst>
            <pc:docMk/>
            <pc:sldMk cId="3769645891" sldId="2146846068"/>
            <ac:spMk id="2" creationId="{C0E9A057-F805-4750-9C97-49B491EDA40C}"/>
          </ac:spMkLst>
        </pc:spChg>
        <pc:spChg chg="mod">
          <ac:chgData name="Katerine Schifino" userId="37bb67de-9fcf-4611-888c-7e5b58184a2a" providerId="ADAL" clId="{FFC930EA-DB3B-4BF8-A71B-329AD02E46CE}" dt="2022-03-14T21:49:25.934" v="239" actId="20577"/>
          <ac:spMkLst>
            <pc:docMk/>
            <pc:sldMk cId="3769645891" sldId="2146846068"/>
            <ac:spMk id="3" creationId="{F4A95292-C17D-4596-AC2A-D617A46EBAA8}"/>
          </ac:spMkLst>
        </pc:spChg>
      </pc:sldChg>
      <pc:sldChg chg="del">
        <pc:chgData name="Katerine Schifino" userId="37bb67de-9fcf-4611-888c-7e5b58184a2a" providerId="ADAL" clId="{FFC930EA-DB3B-4BF8-A71B-329AD02E46CE}" dt="2022-03-14T22:25:12.394" v="285" actId="47"/>
        <pc:sldMkLst>
          <pc:docMk/>
          <pc:sldMk cId="4180197559" sldId="2146846071"/>
        </pc:sldMkLst>
      </pc:sldChg>
      <pc:sldChg chg="addSp delSp modSp mod modNotesTx">
        <pc:chgData name="Katerine Schifino" userId="37bb67de-9fcf-4611-888c-7e5b58184a2a" providerId="ADAL" clId="{FFC930EA-DB3B-4BF8-A71B-329AD02E46CE}" dt="2022-03-18T13:36:58.904" v="5264"/>
        <pc:sldMkLst>
          <pc:docMk/>
          <pc:sldMk cId="712470240" sldId="2146846073"/>
        </pc:sldMkLst>
        <pc:spChg chg="mod">
          <ac:chgData name="Katerine Schifino" userId="37bb67de-9fcf-4611-888c-7e5b58184a2a" providerId="ADAL" clId="{FFC930EA-DB3B-4BF8-A71B-329AD02E46CE}" dt="2022-03-16T20:56:33.599" v="921" actId="113"/>
          <ac:spMkLst>
            <pc:docMk/>
            <pc:sldMk cId="712470240" sldId="2146846073"/>
            <ac:spMk id="3" creationId="{D27D7BD4-79A4-4F74-AEDD-B6DF3D38FA7F}"/>
          </ac:spMkLst>
        </pc:spChg>
        <pc:spChg chg="add del mod">
          <ac:chgData name="Katerine Schifino" userId="37bb67de-9fcf-4611-888c-7e5b58184a2a" providerId="ADAL" clId="{FFC930EA-DB3B-4BF8-A71B-329AD02E46CE}" dt="2022-03-16T21:07:45.792" v="1163"/>
          <ac:spMkLst>
            <pc:docMk/>
            <pc:sldMk cId="712470240" sldId="2146846073"/>
            <ac:spMk id="7" creationId="{62BFD797-5D80-4124-BF51-7BBCAF4E235F}"/>
          </ac:spMkLst>
        </pc:spChg>
        <pc:spChg chg="add del mod">
          <ac:chgData name="Katerine Schifino" userId="37bb67de-9fcf-4611-888c-7e5b58184a2a" providerId="ADAL" clId="{FFC930EA-DB3B-4BF8-A71B-329AD02E46CE}" dt="2022-03-16T21:08:40.993" v="1182"/>
          <ac:spMkLst>
            <pc:docMk/>
            <pc:sldMk cId="712470240" sldId="2146846073"/>
            <ac:spMk id="9" creationId="{67ADC565-094F-48BC-ADB7-B05A29071762}"/>
          </ac:spMkLst>
        </pc:spChg>
        <pc:spChg chg="add del mod">
          <ac:chgData name="Katerine Schifino" userId="37bb67de-9fcf-4611-888c-7e5b58184a2a" providerId="ADAL" clId="{FFC930EA-DB3B-4BF8-A71B-329AD02E46CE}" dt="2022-03-16T21:08:40.993" v="1180" actId="478"/>
          <ac:spMkLst>
            <pc:docMk/>
            <pc:sldMk cId="712470240" sldId="2146846073"/>
            <ac:spMk id="11" creationId="{7DC04297-6C21-4C40-95DB-8EE77A9E8459}"/>
          </ac:spMkLst>
        </pc:spChg>
        <pc:spChg chg="add del mod">
          <ac:chgData name="Katerine Schifino" userId="37bb67de-9fcf-4611-888c-7e5b58184a2a" providerId="ADAL" clId="{FFC930EA-DB3B-4BF8-A71B-329AD02E46CE}" dt="2022-03-17T18:18:15.193" v="3464" actId="20577"/>
          <ac:spMkLst>
            <pc:docMk/>
            <pc:sldMk cId="712470240" sldId="2146846073"/>
            <ac:spMk id="12" creationId="{51B87A01-4710-42DB-8E69-26662099BE41}"/>
          </ac:spMkLst>
        </pc:spChg>
        <pc:spChg chg="add del mod">
          <ac:chgData name="Katerine Schifino" userId="37bb67de-9fcf-4611-888c-7e5b58184a2a" providerId="ADAL" clId="{FFC930EA-DB3B-4BF8-A71B-329AD02E46CE}" dt="2022-03-16T21:07:35.718" v="1157" actId="478"/>
          <ac:spMkLst>
            <pc:docMk/>
            <pc:sldMk cId="712470240" sldId="2146846073"/>
            <ac:spMk id="13" creationId="{36348874-785D-474A-B65E-EC75276A3A34}"/>
          </ac:spMkLst>
        </pc:spChg>
        <pc:spChg chg="add mod">
          <ac:chgData name="Katerine Schifino" userId="37bb67de-9fcf-4611-888c-7e5b58184a2a" providerId="ADAL" clId="{FFC930EA-DB3B-4BF8-A71B-329AD02E46CE}" dt="2022-03-16T21:15:35.975" v="1259" actId="1076"/>
          <ac:spMkLst>
            <pc:docMk/>
            <pc:sldMk cId="712470240" sldId="2146846073"/>
            <ac:spMk id="14" creationId="{8371BBDF-90A7-40F1-9501-16B1854E818D}"/>
          </ac:spMkLst>
        </pc:spChg>
        <pc:spChg chg="add del mod">
          <ac:chgData name="Katerine Schifino" userId="37bb67de-9fcf-4611-888c-7e5b58184a2a" providerId="ADAL" clId="{FFC930EA-DB3B-4BF8-A71B-329AD02E46CE}" dt="2022-03-16T21:08:50.984" v="1187" actId="478"/>
          <ac:spMkLst>
            <pc:docMk/>
            <pc:sldMk cId="712470240" sldId="2146846073"/>
            <ac:spMk id="15" creationId="{A3A5425F-846A-48F1-8751-0D7E69252198}"/>
          </ac:spMkLst>
        </pc:spChg>
        <pc:spChg chg="add del mod">
          <ac:chgData name="Katerine Schifino" userId="37bb67de-9fcf-4611-888c-7e5b58184a2a" providerId="ADAL" clId="{FFC930EA-DB3B-4BF8-A71B-329AD02E46CE}" dt="2022-03-16T21:09:51.624" v="1206" actId="478"/>
          <ac:spMkLst>
            <pc:docMk/>
            <pc:sldMk cId="712470240" sldId="2146846073"/>
            <ac:spMk id="17" creationId="{E68B9C03-D9F8-422C-B8E6-A462140510EC}"/>
          </ac:spMkLst>
        </pc:spChg>
        <pc:spChg chg="mod">
          <ac:chgData name="Katerine Schifino" userId="37bb67de-9fcf-4611-888c-7e5b58184a2a" providerId="ADAL" clId="{FFC930EA-DB3B-4BF8-A71B-329AD02E46CE}" dt="2022-03-17T18:20:20.521" v="3512" actId="20577"/>
          <ac:spMkLst>
            <pc:docMk/>
            <pc:sldMk cId="712470240" sldId="2146846073"/>
            <ac:spMk id="22" creationId="{B15B348E-54F1-42CE-8C06-1E5D4921E0A4}"/>
          </ac:spMkLst>
        </pc:spChg>
        <pc:spChg chg="mod">
          <ac:chgData name="Katerine Schifino" userId="37bb67de-9fcf-4611-888c-7e5b58184a2a" providerId="ADAL" clId="{FFC930EA-DB3B-4BF8-A71B-329AD02E46CE}" dt="2022-03-16T21:16:25.198" v="1272" actId="1076"/>
          <ac:spMkLst>
            <pc:docMk/>
            <pc:sldMk cId="712470240" sldId="2146846073"/>
            <ac:spMk id="23" creationId="{222F9957-FE85-495F-81DA-29B542BFBAA5}"/>
          </ac:spMkLst>
        </pc:spChg>
        <pc:spChg chg="add del mod">
          <ac:chgData name="Katerine Schifino" userId="37bb67de-9fcf-4611-888c-7e5b58184a2a" providerId="ADAL" clId="{FFC930EA-DB3B-4BF8-A71B-329AD02E46CE}" dt="2022-03-16T20:46:31.525" v="790" actId="478"/>
          <ac:spMkLst>
            <pc:docMk/>
            <pc:sldMk cId="712470240" sldId="2146846073"/>
            <ac:spMk id="24" creationId="{664FDE2F-D8B6-4908-BB74-F7111FE192A0}"/>
          </ac:spMkLst>
        </pc:spChg>
        <pc:spChg chg="add del mod">
          <ac:chgData name="Katerine Schifino" userId="37bb67de-9fcf-4611-888c-7e5b58184a2a" providerId="ADAL" clId="{FFC930EA-DB3B-4BF8-A71B-329AD02E46CE}" dt="2022-03-16T20:46:31.525" v="790" actId="478"/>
          <ac:spMkLst>
            <pc:docMk/>
            <pc:sldMk cId="712470240" sldId="2146846073"/>
            <ac:spMk id="25" creationId="{7B0FF2C8-2CD1-4079-BA2F-BD45B4F81110}"/>
          </ac:spMkLst>
        </pc:spChg>
        <pc:spChg chg="add del">
          <ac:chgData name="Katerine Schifino" userId="37bb67de-9fcf-4611-888c-7e5b58184a2a" providerId="ADAL" clId="{FFC930EA-DB3B-4BF8-A71B-329AD02E46CE}" dt="2022-03-14T21:49:40.718" v="240" actId="478"/>
          <ac:spMkLst>
            <pc:docMk/>
            <pc:sldMk cId="712470240" sldId="2146846073"/>
            <ac:spMk id="26" creationId="{AD377BC6-9D40-473F-9391-BD5E7A91EAEA}"/>
          </ac:spMkLst>
        </pc:spChg>
        <pc:spChg chg="mod">
          <ac:chgData name="Katerine Schifino" userId="37bb67de-9fcf-4611-888c-7e5b58184a2a" providerId="ADAL" clId="{FFC930EA-DB3B-4BF8-A71B-329AD02E46CE}" dt="2022-03-17T18:24:04.722" v="3618" actId="20577"/>
          <ac:spMkLst>
            <pc:docMk/>
            <pc:sldMk cId="712470240" sldId="2146846073"/>
            <ac:spMk id="27" creationId="{310E0701-645A-43DB-BF53-EF2702ED3640}"/>
          </ac:spMkLst>
        </pc:spChg>
        <pc:spChg chg="mod">
          <ac:chgData name="Katerine Schifino" userId="37bb67de-9fcf-4611-888c-7e5b58184a2a" providerId="ADAL" clId="{FFC930EA-DB3B-4BF8-A71B-329AD02E46CE}" dt="2022-03-16T21:19:48.487" v="1317" actId="1076"/>
          <ac:spMkLst>
            <pc:docMk/>
            <pc:sldMk cId="712470240" sldId="2146846073"/>
            <ac:spMk id="28" creationId="{C09560CA-7F4C-4396-AC15-151A9DE67915}"/>
          </ac:spMkLst>
        </pc:spChg>
        <pc:spChg chg="mod">
          <ac:chgData name="Katerine Schifino" userId="37bb67de-9fcf-4611-888c-7e5b58184a2a" providerId="ADAL" clId="{FFC930EA-DB3B-4BF8-A71B-329AD02E46CE}" dt="2022-03-18T13:20:06.990" v="4877" actId="20577"/>
          <ac:spMkLst>
            <pc:docMk/>
            <pc:sldMk cId="712470240" sldId="2146846073"/>
            <ac:spMk id="30" creationId="{D8157CB6-4DF4-43E1-8A7F-40D04CEFD42B}"/>
          </ac:spMkLst>
        </pc:spChg>
        <pc:spChg chg="mod">
          <ac:chgData name="Katerine Schifino" userId="37bb67de-9fcf-4611-888c-7e5b58184a2a" providerId="ADAL" clId="{FFC930EA-DB3B-4BF8-A71B-329AD02E46CE}" dt="2022-03-17T18:25:08.180" v="3695" actId="20577"/>
          <ac:spMkLst>
            <pc:docMk/>
            <pc:sldMk cId="712470240" sldId="2146846073"/>
            <ac:spMk id="31" creationId="{298D04EC-731A-4E2B-BC2B-64E63AB91913}"/>
          </ac:spMkLst>
        </pc:spChg>
        <pc:spChg chg="mod">
          <ac:chgData name="Katerine Schifino" userId="37bb67de-9fcf-4611-888c-7e5b58184a2a" providerId="ADAL" clId="{FFC930EA-DB3B-4BF8-A71B-329AD02E46CE}" dt="2022-03-16T21:19:15.051" v="1307" actId="1076"/>
          <ac:spMkLst>
            <pc:docMk/>
            <pc:sldMk cId="712470240" sldId="2146846073"/>
            <ac:spMk id="32" creationId="{E70A6C4A-B924-47FF-9C04-30112EA33F8B}"/>
          </ac:spMkLst>
        </pc:spChg>
        <pc:spChg chg="mod">
          <ac:chgData name="Katerine Schifino" userId="37bb67de-9fcf-4611-888c-7e5b58184a2a" providerId="ADAL" clId="{FFC930EA-DB3B-4BF8-A71B-329AD02E46CE}" dt="2022-03-17T18:25:17.821" v="3709" actId="20577"/>
          <ac:spMkLst>
            <pc:docMk/>
            <pc:sldMk cId="712470240" sldId="2146846073"/>
            <ac:spMk id="34" creationId="{803BEE7A-6BB0-4635-BE58-36C7A974C93A}"/>
          </ac:spMkLst>
        </pc:spChg>
        <pc:spChg chg="mod">
          <ac:chgData name="Katerine Schifino" userId="37bb67de-9fcf-4611-888c-7e5b58184a2a" providerId="ADAL" clId="{FFC930EA-DB3B-4BF8-A71B-329AD02E46CE}" dt="2022-03-16T21:18:56.724" v="1305" actId="1076"/>
          <ac:spMkLst>
            <pc:docMk/>
            <pc:sldMk cId="712470240" sldId="2146846073"/>
            <ac:spMk id="35" creationId="{618F10DB-2C70-49E7-8530-5045C09DA73B}"/>
          </ac:spMkLst>
        </pc:spChg>
        <pc:spChg chg="mod">
          <ac:chgData name="Katerine Schifino" userId="37bb67de-9fcf-4611-888c-7e5b58184a2a" providerId="ADAL" clId="{FFC930EA-DB3B-4BF8-A71B-329AD02E46CE}" dt="2022-03-17T20:06:13.340" v="4564" actId="20577"/>
          <ac:spMkLst>
            <pc:docMk/>
            <pc:sldMk cId="712470240" sldId="2146846073"/>
            <ac:spMk id="37" creationId="{91C406C6-624A-4836-9875-10922188F90B}"/>
          </ac:spMkLst>
        </pc:spChg>
        <pc:spChg chg="mod">
          <ac:chgData name="Katerine Schifino" userId="37bb67de-9fcf-4611-888c-7e5b58184a2a" providerId="ADAL" clId="{FFC930EA-DB3B-4BF8-A71B-329AD02E46CE}" dt="2022-03-16T21:16:59.430" v="1281" actId="1076"/>
          <ac:spMkLst>
            <pc:docMk/>
            <pc:sldMk cId="712470240" sldId="2146846073"/>
            <ac:spMk id="38" creationId="{68685468-2775-4F0C-9B64-4EE07926E18E}"/>
          </ac:spMkLst>
        </pc:spChg>
        <pc:grpChg chg="add mod">
          <ac:chgData name="Katerine Schifino" userId="37bb67de-9fcf-4611-888c-7e5b58184a2a" providerId="ADAL" clId="{FFC930EA-DB3B-4BF8-A71B-329AD02E46CE}" dt="2022-03-17T18:14:07.243" v="3387" actId="1036"/>
          <ac:grpSpMkLst>
            <pc:docMk/>
            <pc:sldMk cId="712470240" sldId="2146846073"/>
            <ac:grpSpMk id="2" creationId="{5F13D6B2-A612-4AE4-8CCE-3AEB4C603C3C}"/>
          </ac:grpSpMkLst>
        </pc:grpChg>
        <pc:grpChg chg="del">
          <ac:chgData name="Katerine Schifino" userId="37bb67de-9fcf-4611-888c-7e5b58184a2a" providerId="ADAL" clId="{FFC930EA-DB3B-4BF8-A71B-329AD02E46CE}" dt="2022-03-14T21:41:58.047" v="108" actId="478"/>
          <ac:grpSpMkLst>
            <pc:docMk/>
            <pc:sldMk cId="712470240" sldId="2146846073"/>
            <ac:grpSpMk id="10" creationId="{B4B43A47-6457-49A6-8EE2-A695193BF980}"/>
          </ac:grpSpMkLst>
        </pc:grpChg>
        <pc:grpChg chg="add mod">
          <ac:chgData name="Katerine Schifino" userId="37bb67de-9fcf-4611-888c-7e5b58184a2a" providerId="ADAL" clId="{FFC930EA-DB3B-4BF8-A71B-329AD02E46CE}" dt="2022-03-17T18:14:03.467" v="3367" actId="164"/>
          <ac:grpSpMkLst>
            <pc:docMk/>
            <pc:sldMk cId="712470240" sldId="2146846073"/>
            <ac:grpSpMk id="16" creationId="{F1F960F4-CFA2-4864-8AE6-84C365297F13}"/>
          </ac:grpSpMkLst>
        </pc:grpChg>
        <pc:grpChg chg="del">
          <ac:chgData name="Katerine Schifino" userId="37bb67de-9fcf-4611-888c-7e5b58184a2a" providerId="ADAL" clId="{FFC930EA-DB3B-4BF8-A71B-329AD02E46CE}" dt="2022-03-14T21:41:58.047" v="108" actId="478"/>
          <ac:grpSpMkLst>
            <pc:docMk/>
            <pc:sldMk cId="712470240" sldId="2146846073"/>
            <ac:grpSpMk id="19" creationId="{CF631584-7E49-4E86-8E81-CD6275F6C785}"/>
          </ac:grpSpMkLst>
        </pc:grpChg>
        <pc:grpChg chg="add mod">
          <ac:chgData name="Katerine Schifino" userId="37bb67de-9fcf-4611-888c-7e5b58184a2a" providerId="ADAL" clId="{FFC930EA-DB3B-4BF8-A71B-329AD02E46CE}" dt="2022-03-17T18:14:03.467" v="3367" actId="164"/>
          <ac:grpSpMkLst>
            <pc:docMk/>
            <pc:sldMk cId="712470240" sldId="2146846073"/>
            <ac:grpSpMk id="21" creationId="{A0F2C1A2-BD00-4EAD-870D-04011C04775C}"/>
          </ac:grpSpMkLst>
        </pc:grpChg>
        <pc:grpChg chg="del">
          <ac:chgData name="Katerine Schifino" userId="37bb67de-9fcf-4611-888c-7e5b58184a2a" providerId="ADAL" clId="{FFC930EA-DB3B-4BF8-A71B-329AD02E46CE}" dt="2022-03-14T21:41:58.047" v="108" actId="478"/>
          <ac:grpSpMkLst>
            <pc:docMk/>
            <pc:sldMk cId="712470240" sldId="2146846073"/>
            <ac:grpSpMk id="23" creationId="{A2CDDBF8-4862-4521-9F9B-AD100E77F5F9}"/>
          </ac:grpSpMkLst>
        </pc:grpChg>
        <pc:grpChg chg="add mod">
          <ac:chgData name="Katerine Schifino" userId="37bb67de-9fcf-4611-888c-7e5b58184a2a" providerId="ADAL" clId="{FFC930EA-DB3B-4BF8-A71B-329AD02E46CE}" dt="2022-03-17T18:14:03.467" v="3367" actId="164"/>
          <ac:grpSpMkLst>
            <pc:docMk/>
            <pc:sldMk cId="712470240" sldId="2146846073"/>
            <ac:grpSpMk id="26" creationId="{067EFEAC-CA9B-49F3-B6D3-299B27810F7B}"/>
          </ac:grpSpMkLst>
        </pc:grpChg>
        <pc:grpChg chg="add mod">
          <ac:chgData name="Katerine Schifino" userId="37bb67de-9fcf-4611-888c-7e5b58184a2a" providerId="ADAL" clId="{FFC930EA-DB3B-4BF8-A71B-329AD02E46CE}" dt="2022-03-17T18:14:03.467" v="3367" actId="164"/>
          <ac:grpSpMkLst>
            <pc:docMk/>
            <pc:sldMk cId="712470240" sldId="2146846073"/>
            <ac:grpSpMk id="29" creationId="{EC1BC069-C03F-4D72-A93C-39357C854BFD}"/>
          </ac:grpSpMkLst>
        </pc:grpChg>
        <pc:grpChg chg="add mod">
          <ac:chgData name="Katerine Schifino" userId="37bb67de-9fcf-4611-888c-7e5b58184a2a" providerId="ADAL" clId="{FFC930EA-DB3B-4BF8-A71B-329AD02E46CE}" dt="2022-03-17T18:14:03.467" v="3367" actId="164"/>
          <ac:grpSpMkLst>
            <pc:docMk/>
            <pc:sldMk cId="712470240" sldId="2146846073"/>
            <ac:grpSpMk id="33" creationId="{32A65F67-EAAC-4F8C-9204-02A2AE9C31B4}"/>
          </ac:grpSpMkLst>
        </pc:grpChg>
        <pc:grpChg chg="add mod">
          <ac:chgData name="Katerine Schifino" userId="37bb67de-9fcf-4611-888c-7e5b58184a2a" providerId="ADAL" clId="{FFC930EA-DB3B-4BF8-A71B-329AD02E46CE}" dt="2022-03-17T18:14:03.467" v="3367" actId="164"/>
          <ac:grpSpMkLst>
            <pc:docMk/>
            <pc:sldMk cId="712470240" sldId="2146846073"/>
            <ac:grpSpMk id="36" creationId="{07C934A3-4699-4B5F-858F-A6F86EAA8A92}"/>
          </ac:grpSpMkLst>
        </pc:grpChg>
        <pc:graphicFrameChg chg="del">
          <ac:chgData name="Katerine Schifino" userId="37bb67de-9fcf-4611-888c-7e5b58184a2a" providerId="ADAL" clId="{FFC930EA-DB3B-4BF8-A71B-329AD02E46CE}" dt="2022-03-14T21:41:58.047" v="108" actId="478"/>
          <ac:graphicFrameMkLst>
            <pc:docMk/>
            <pc:sldMk cId="712470240" sldId="2146846073"/>
            <ac:graphicFrameMk id="4" creationId="{326B6A2F-F2C7-4441-BB0F-3A06BF275B7F}"/>
          </ac:graphicFrameMkLst>
        </pc:graphicFrameChg>
        <pc:picChg chg="del">
          <ac:chgData name="Katerine Schifino" userId="37bb67de-9fcf-4611-888c-7e5b58184a2a" providerId="ADAL" clId="{FFC930EA-DB3B-4BF8-A71B-329AD02E46CE}" dt="2022-03-14T21:41:58.047" v="108" actId="478"/>
          <ac:picMkLst>
            <pc:docMk/>
            <pc:sldMk cId="712470240" sldId="2146846073"/>
            <ac:picMk id="12" creationId="{99840CD3-749B-4C75-B90F-8DB28CBD5C4C}"/>
          </ac:picMkLst>
        </pc:picChg>
        <pc:picChg chg="del">
          <ac:chgData name="Katerine Schifino" userId="37bb67de-9fcf-4611-888c-7e5b58184a2a" providerId="ADAL" clId="{FFC930EA-DB3B-4BF8-A71B-329AD02E46CE}" dt="2022-03-14T21:41:58.047" v="108" actId="478"/>
          <ac:picMkLst>
            <pc:docMk/>
            <pc:sldMk cId="712470240" sldId="2146846073"/>
            <ac:picMk id="14" creationId="{3F9525FD-F953-4DA6-894B-697C087CD3CD}"/>
          </ac:picMkLst>
        </pc:picChg>
        <pc:picChg chg="add mod">
          <ac:chgData name="Katerine Schifino" userId="37bb67de-9fcf-4611-888c-7e5b58184a2a" providerId="ADAL" clId="{FFC930EA-DB3B-4BF8-A71B-329AD02E46CE}" dt="2022-03-17T18:14:03.467" v="3367" actId="164"/>
          <ac:picMkLst>
            <pc:docMk/>
            <pc:sldMk cId="712470240" sldId="2146846073"/>
            <ac:picMk id="19" creationId="{D4761E16-0126-44C4-9C17-574DB16E9761}"/>
          </ac:picMkLst>
        </pc:picChg>
        <pc:picChg chg="del">
          <ac:chgData name="Katerine Schifino" userId="37bb67de-9fcf-4611-888c-7e5b58184a2a" providerId="ADAL" clId="{FFC930EA-DB3B-4BF8-A71B-329AD02E46CE}" dt="2022-03-14T21:41:58.047" v="108" actId="478"/>
          <ac:picMkLst>
            <pc:docMk/>
            <pc:sldMk cId="712470240" sldId="2146846073"/>
            <ac:picMk id="27" creationId="{E50DBF20-B1F7-45DE-9E7D-7DF5DF8C285E}"/>
          </ac:picMkLst>
        </pc:picChg>
        <pc:picChg chg="del">
          <ac:chgData name="Katerine Schifino" userId="37bb67de-9fcf-4611-888c-7e5b58184a2a" providerId="ADAL" clId="{FFC930EA-DB3B-4BF8-A71B-329AD02E46CE}" dt="2022-03-14T21:41:58.047" v="108" actId="478"/>
          <ac:picMkLst>
            <pc:docMk/>
            <pc:sldMk cId="712470240" sldId="2146846073"/>
            <ac:picMk id="29" creationId="{505C2299-8E21-4BB5-9277-7D1C3E37222B}"/>
          </ac:picMkLst>
        </pc:picChg>
        <pc:picChg chg="add del mod">
          <ac:chgData name="Katerine Schifino" userId="37bb67de-9fcf-4611-888c-7e5b58184a2a" providerId="ADAL" clId="{FFC930EA-DB3B-4BF8-A71B-329AD02E46CE}" dt="2022-03-16T21:17:59.865" v="1291" actId="478"/>
          <ac:picMkLst>
            <pc:docMk/>
            <pc:sldMk cId="712470240" sldId="2146846073"/>
            <ac:picMk id="39" creationId="{A4ABB5A2-70C2-490F-AFBF-1008C6059E57}"/>
          </ac:picMkLst>
        </pc:picChg>
        <pc:picChg chg="add del mod">
          <ac:chgData name="Katerine Schifino" userId="37bb67de-9fcf-4611-888c-7e5b58184a2a" providerId="ADAL" clId="{FFC930EA-DB3B-4BF8-A71B-329AD02E46CE}" dt="2022-03-16T21:13:45.978" v="1236" actId="478"/>
          <ac:picMkLst>
            <pc:docMk/>
            <pc:sldMk cId="712470240" sldId="2146846073"/>
            <ac:picMk id="41" creationId="{D6D77F36-FAA4-4609-A725-9AEF044A332C}"/>
          </ac:picMkLst>
        </pc:picChg>
        <pc:picChg chg="add del mod">
          <ac:chgData name="Katerine Schifino" userId="37bb67de-9fcf-4611-888c-7e5b58184a2a" providerId="ADAL" clId="{FFC930EA-DB3B-4BF8-A71B-329AD02E46CE}" dt="2022-03-16T21:13:37.494" v="1233" actId="478"/>
          <ac:picMkLst>
            <pc:docMk/>
            <pc:sldMk cId="712470240" sldId="2146846073"/>
            <ac:picMk id="43" creationId="{C7E9726C-E23B-4942-AEC1-B86D87EFDD95}"/>
          </ac:picMkLst>
        </pc:picChg>
        <pc:picChg chg="add del mod">
          <ac:chgData name="Katerine Schifino" userId="37bb67de-9fcf-4611-888c-7e5b58184a2a" providerId="ADAL" clId="{FFC930EA-DB3B-4BF8-A71B-329AD02E46CE}" dt="2022-03-16T21:13:50.973" v="1238" actId="478"/>
          <ac:picMkLst>
            <pc:docMk/>
            <pc:sldMk cId="712470240" sldId="2146846073"/>
            <ac:picMk id="45" creationId="{C7BE00F6-4865-4E5A-ABC8-76CA6BC7AF15}"/>
          </ac:picMkLst>
        </pc:picChg>
        <pc:picChg chg="add mod">
          <ac:chgData name="Katerine Schifino" userId="37bb67de-9fcf-4611-888c-7e5b58184a2a" providerId="ADAL" clId="{FFC930EA-DB3B-4BF8-A71B-329AD02E46CE}" dt="2022-03-17T18:14:03.467" v="3367" actId="164"/>
          <ac:picMkLst>
            <pc:docMk/>
            <pc:sldMk cId="712470240" sldId="2146846073"/>
            <ac:picMk id="47" creationId="{0B26750E-90FF-4DB3-AAD1-4059DA11AED8}"/>
          </ac:picMkLst>
        </pc:picChg>
        <pc:picChg chg="add mod">
          <ac:chgData name="Katerine Schifino" userId="37bb67de-9fcf-4611-888c-7e5b58184a2a" providerId="ADAL" clId="{FFC930EA-DB3B-4BF8-A71B-329AD02E46CE}" dt="2022-03-17T18:14:03.467" v="3367" actId="164"/>
          <ac:picMkLst>
            <pc:docMk/>
            <pc:sldMk cId="712470240" sldId="2146846073"/>
            <ac:picMk id="49" creationId="{34E99E25-BA81-4B58-93BA-6AE1EB55C444}"/>
          </ac:picMkLst>
        </pc:picChg>
        <pc:picChg chg="add del mod">
          <ac:chgData name="Katerine Schifino" userId="37bb67de-9fcf-4611-888c-7e5b58184a2a" providerId="ADAL" clId="{FFC930EA-DB3B-4BF8-A71B-329AD02E46CE}" dt="2022-03-16T21:15:08.567" v="1244" actId="478"/>
          <ac:picMkLst>
            <pc:docMk/>
            <pc:sldMk cId="712470240" sldId="2146846073"/>
            <ac:picMk id="51" creationId="{4FB76472-677F-4C04-B5AC-2E1B1AF2E4D9}"/>
          </ac:picMkLst>
        </pc:picChg>
        <pc:picChg chg="add del mod">
          <ac:chgData name="Katerine Schifino" userId="37bb67de-9fcf-4611-888c-7e5b58184a2a" providerId="ADAL" clId="{FFC930EA-DB3B-4BF8-A71B-329AD02E46CE}" dt="2022-03-16T21:13:52.795" v="1239" actId="478"/>
          <ac:picMkLst>
            <pc:docMk/>
            <pc:sldMk cId="712470240" sldId="2146846073"/>
            <ac:picMk id="53" creationId="{EF8673D9-AB1B-48D0-928E-852664D8933C}"/>
          </ac:picMkLst>
        </pc:picChg>
        <pc:picChg chg="add mod">
          <ac:chgData name="Katerine Schifino" userId="37bb67de-9fcf-4611-888c-7e5b58184a2a" providerId="ADAL" clId="{FFC930EA-DB3B-4BF8-A71B-329AD02E46CE}" dt="2022-03-17T18:14:03.467" v="3367" actId="164"/>
          <ac:picMkLst>
            <pc:docMk/>
            <pc:sldMk cId="712470240" sldId="2146846073"/>
            <ac:picMk id="55" creationId="{CC5B48A4-EF05-4945-8AFA-6974BE41CE86}"/>
          </ac:picMkLst>
        </pc:picChg>
        <pc:picChg chg="add mod">
          <ac:chgData name="Katerine Schifino" userId="37bb67de-9fcf-4611-888c-7e5b58184a2a" providerId="ADAL" clId="{FFC930EA-DB3B-4BF8-A71B-329AD02E46CE}" dt="2022-03-17T18:14:03.467" v="3367" actId="164"/>
          <ac:picMkLst>
            <pc:docMk/>
            <pc:sldMk cId="712470240" sldId="2146846073"/>
            <ac:picMk id="57" creationId="{980A3E94-DCE7-4122-A1BA-E42D5D993C25}"/>
          </ac:picMkLst>
        </pc:picChg>
        <pc:picChg chg="add mod">
          <ac:chgData name="Katerine Schifino" userId="37bb67de-9fcf-4611-888c-7e5b58184a2a" providerId="ADAL" clId="{FFC930EA-DB3B-4BF8-A71B-329AD02E46CE}" dt="2022-03-17T18:14:03.467" v="3367" actId="164"/>
          <ac:picMkLst>
            <pc:docMk/>
            <pc:sldMk cId="712470240" sldId="2146846073"/>
            <ac:picMk id="59" creationId="{00046383-44AB-4B59-8FCE-4577365F2AA1}"/>
          </ac:picMkLst>
        </pc:picChg>
      </pc:sldChg>
      <pc:sldChg chg="del">
        <pc:chgData name="Katerine Schifino" userId="37bb67de-9fcf-4611-888c-7e5b58184a2a" providerId="ADAL" clId="{FFC930EA-DB3B-4BF8-A71B-329AD02E46CE}" dt="2022-03-14T22:25:19.686" v="293" actId="47"/>
        <pc:sldMkLst>
          <pc:docMk/>
          <pc:sldMk cId="3012924003" sldId="2146846074"/>
        </pc:sldMkLst>
      </pc:sldChg>
      <pc:sldChg chg="del">
        <pc:chgData name="Katerine Schifino" userId="37bb67de-9fcf-4611-888c-7e5b58184a2a" providerId="ADAL" clId="{FFC930EA-DB3B-4BF8-A71B-329AD02E46CE}" dt="2022-03-14T22:25:21.430" v="296" actId="47"/>
        <pc:sldMkLst>
          <pc:docMk/>
          <pc:sldMk cId="4122836090" sldId="2146846075"/>
        </pc:sldMkLst>
      </pc:sldChg>
      <pc:sldChg chg="del">
        <pc:chgData name="Katerine Schifino" userId="37bb67de-9fcf-4611-888c-7e5b58184a2a" providerId="ADAL" clId="{FFC930EA-DB3B-4BF8-A71B-329AD02E46CE}" dt="2022-03-14T22:25:20.775" v="295" actId="47"/>
        <pc:sldMkLst>
          <pc:docMk/>
          <pc:sldMk cId="1404460967" sldId="2146846076"/>
        </pc:sldMkLst>
      </pc:sldChg>
      <pc:sldChg chg="del">
        <pc:chgData name="Katerine Schifino" userId="37bb67de-9fcf-4611-888c-7e5b58184a2a" providerId="ADAL" clId="{FFC930EA-DB3B-4BF8-A71B-329AD02E46CE}" dt="2022-03-14T22:25:20.181" v="294" actId="47"/>
        <pc:sldMkLst>
          <pc:docMk/>
          <pc:sldMk cId="1683932540" sldId="2146846077"/>
        </pc:sldMkLst>
      </pc:sldChg>
      <pc:sldChg chg="del">
        <pc:chgData name="Katerine Schifino" userId="37bb67de-9fcf-4611-888c-7e5b58184a2a" providerId="ADAL" clId="{FFC930EA-DB3B-4BF8-A71B-329AD02E46CE}" dt="2022-03-14T22:25:13.607" v="289" actId="47"/>
        <pc:sldMkLst>
          <pc:docMk/>
          <pc:sldMk cId="2001048157" sldId="2146846079"/>
        </pc:sldMkLst>
      </pc:sldChg>
      <pc:sldChg chg="del">
        <pc:chgData name="Katerine Schifino" userId="37bb67de-9fcf-4611-888c-7e5b58184a2a" providerId="ADAL" clId="{FFC930EA-DB3B-4BF8-A71B-329AD02E46CE}" dt="2022-03-14T22:25:13.056" v="286" actId="47"/>
        <pc:sldMkLst>
          <pc:docMk/>
          <pc:sldMk cId="4029788326" sldId="2146846083"/>
        </pc:sldMkLst>
      </pc:sldChg>
      <pc:sldChg chg="del">
        <pc:chgData name="Katerine Schifino" userId="37bb67de-9fcf-4611-888c-7e5b58184a2a" providerId="ADAL" clId="{FFC930EA-DB3B-4BF8-A71B-329AD02E46CE}" dt="2022-03-14T22:25:17.459" v="290" actId="47"/>
        <pc:sldMkLst>
          <pc:docMk/>
          <pc:sldMk cId="1230900351" sldId="2146846085"/>
        </pc:sldMkLst>
      </pc:sldChg>
      <pc:sldChg chg="del">
        <pc:chgData name="Katerine Schifino" userId="37bb67de-9fcf-4611-888c-7e5b58184a2a" providerId="ADAL" clId="{FFC930EA-DB3B-4BF8-A71B-329AD02E46CE}" dt="2022-03-14T22:25:18.443" v="291" actId="47"/>
        <pc:sldMkLst>
          <pc:docMk/>
          <pc:sldMk cId="2851014050" sldId="2146846086"/>
        </pc:sldMkLst>
      </pc:sldChg>
      <pc:sldChg chg="del">
        <pc:chgData name="Katerine Schifino" userId="37bb67de-9fcf-4611-888c-7e5b58184a2a" providerId="ADAL" clId="{FFC930EA-DB3B-4BF8-A71B-329AD02E46CE}" dt="2022-03-17T22:26:44.611" v="4849" actId="47"/>
        <pc:sldMkLst>
          <pc:docMk/>
          <pc:sldMk cId="383325140" sldId="2146846088"/>
        </pc:sldMkLst>
      </pc:sldChg>
      <pc:sldChg chg="addSp delSp modSp mod modNotesTx">
        <pc:chgData name="Katerine Schifino" userId="37bb67de-9fcf-4611-888c-7e5b58184a2a" providerId="ADAL" clId="{FFC930EA-DB3B-4BF8-A71B-329AD02E46CE}" dt="2022-03-18T21:11:55.167" v="7451" actId="2165"/>
        <pc:sldMkLst>
          <pc:docMk/>
          <pc:sldMk cId="3736734467" sldId="2146846089"/>
        </pc:sldMkLst>
        <pc:graphicFrameChg chg="del mod modGraphic">
          <ac:chgData name="Katerine Schifino" userId="37bb67de-9fcf-4611-888c-7e5b58184a2a" providerId="ADAL" clId="{FFC930EA-DB3B-4BF8-A71B-329AD02E46CE}" dt="2022-03-18T16:04:33.720" v="7332" actId="478"/>
          <ac:graphicFrameMkLst>
            <pc:docMk/>
            <pc:sldMk cId="3736734467" sldId="2146846089"/>
            <ac:graphicFrameMk id="2" creationId="{DABEA71B-03AC-48AD-8E3A-F5B4F36922D0}"/>
          </ac:graphicFrameMkLst>
        </pc:graphicFrameChg>
        <pc:graphicFrameChg chg="add mod modGraphic">
          <ac:chgData name="Katerine Schifino" userId="37bb67de-9fcf-4611-888c-7e5b58184a2a" providerId="ADAL" clId="{FFC930EA-DB3B-4BF8-A71B-329AD02E46CE}" dt="2022-03-18T21:11:55.167" v="7451" actId="2165"/>
          <ac:graphicFrameMkLst>
            <pc:docMk/>
            <pc:sldMk cId="3736734467" sldId="2146846089"/>
            <ac:graphicFrameMk id="7" creationId="{D46312A1-FEC2-44EE-9A1F-92CAAC2AD827}"/>
          </ac:graphicFrameMkLst>
        </pc:graphicFrameChg>
      </pc:sldChg>
      <pc:sldChg chg="del">
        <pc:chgData name="Katerine Schifino" userId="37bb67de-9fcf-4611-888c-7e5b58184a2a" providerId="ADAL" clId="{FFC930EA-DB3B-4BF8-A71B-329AD02E46CE}" dt="2022-03-14T22:25:11.787" v="284" actId="47"/>
        <pc:sldMkLst>
          <pc:docMk/>
          <pc:sldMk cId="1449545104" sldId="2146846090"/>
        </pc:sldMkLst>
      </pc:sldChg>
      <pc:sldChg chg="del">
        <pc:chgData name="Katerine Schifino" userId="37bb67de-9fcf-4611-888c-7e5b58184a2a" providerId="ADAL" clId="{FFC930EA-DB3B-4BF8-A71B-329AD02E46CE}" dt="2022-03-14T22:25:13.442" v="288" actId="47"/>
        <pc:sldMkLst>
          <pc:docMk/>
          <pc:sldMk cId="198724141" sldId="2146846091"/>
        </pc:sldMkLst>
      </pc:sldChg>
      <pc:sldChg chg="del">
        <pc:chgData name="Katerine Schifino" userId="37bb67de-9fcf-4611-888c-7e5b58184a2a" providerId="ADAL" clId="{FFC930EA-DB3B-4BF8-A71B-329AD02E46CE}" dt="2022-03-14T22:25:19.088" v="292" actId="47"/>
        <pc:sldMkLst>
          <pc:docMk/>
          <pc:sldMk cId="1165044527" sldId="2146846092"/>
        </pc:sldMkLst>
      </pc:sldChg>
      <pc:sldChg chg="del">
        <pc:chgData name="Katerine Schifino" userId="37bb67de-9fcf-4611-888c-7e5b58184a2a" providerId="ADAL" clId="{FFC930EA-DB3B-4BF8-A71B-329AD02E46CE}" dt="2022-03-14T22:25:13.244" v="287" actId="47"/>
        <pc:sldMkLst>
          <pc:docMk/>
          <pc:sldMk cId="996753462" sldId="2146846093"/>
        </pc:sldMkLst>
      </pc:sldChg>
      <pc:sldChg chg="delSp modSp mod">
        <pc:chgData name="Katerine Schifino" userId="37bb67de-9fcf-4611-888c-7e5b58184a2a" providerId="ADAL" clId="{FFC930EA-DB3B-4BF8-A71B-329AD02E46CE}" dt="2022-03-17T22:26:37.545" v="4848" actId="478"/>
        <pc:sldMkLst>
          <pc:docMk/>
          <pc:sldMk cId="2732974769" sldId="2146846094"/>
        </pc:sldMkLst>
        <pc:spChg chg="mod">
          <ac:chgData name="Katerine Schifino" userId="37bb67de-9fcf-4611-888c-7e5b58184a2a" providerId="ADAL" clId="{FFC930EA-DB3B-4BF8-A71B-329AD02E46CE}" dt="2022-03-17T22:26:36.130" v="4847" actId="20577"/>
          <ac:spMkLst>
            <pc:docMk/>
            <pc:sldMk cId="2732974769" sldId="2146846094"/>
            <ac:spMk id="5" creationId="{627EBBDC-F27E-4C02-853D-FC28E86BB1E0}"/>
          </ac:spMkLst>
        </pc:spChg>
        <pc:picChg chg="del">
          <ac:chgData name="Katerine Schifino" userId="37bb67de-9fcf-4611-888c-7e5b58184a2a" providerId="ADAL" clId="{FFC930EA-DB3B-4BF8-A71B-329AD02E46CE}" dt="2022-03-17T22:26:37.545" v="4848" actId="478"/>
          <ac:picMkLst>
            <pc:docMk/>
            <pc:sldMk cId="2732974769" sldId="2146846094"/>
            <ac:picMk id="3" creationId="{5B075F0A-992F-4149-9EF7-5E7270678893}"/>
          </ac:picMkLst>
        </pc:picChg>
      </pc:sldChg>
      <pc:sldChg chg="delSp modSp add del mod ord modNotesTx">
        <pc:chgData name="Katerine Schifino" userId="37bb67de-9fcf-4611-888c-7e5b58184a2a" providerId="ADAL" clId="{FFC930EA-DB3B-4BF8-A71B-329AD02E46CE}" dt="2022-03-16T20:59:37.508" v="1054" actId="47"/>
        <pc:sldMkLst>
          <pc:docMk/>
          <pc:sldMk cId="334504189" sldId="2146846095"/>
        </pc:sldMkLst>
        <pc:spChg chg="del">
          <ac:chgData name="Katerine Schifino" userId="37bb67de-9fcf-4611-888c-7e5b58184a2a" providerId="ADAL" clId="{FFC930EA-DB3B-4BF8-A71B-329AD02E46CE}" dt="2022-03-14T21:45:05.989" v="136" actId="478"/>
          <ac:spMkLst>
            <pc:docMk/>
            <pc:sldMk cId="334504189" sldId="2146846095"/>
            <ac:spMk id="24" creationId="{664FDE2F-D8B6-4908-BB74-F7111FE192A0}"/>
          </ac:spMkLst>
        </pc:spChg>
        <pc:spChg chg="del">
          <ac:chgData name="Katerine Schifino" userId="37bb67de-9fcf-4611-888c-7e5b58184a2a" providerId="ADAL" clId="{FFC930EA-DB3B-4BF8-A71B-329AD02E46CE}" dt="2022-03-14T21:45:05.989" v="136" actId="478"/>
          <ac:spMkLst>
            <pc:docMk/>
            <pc:sldMk cId="334504189" sldId="2146846095"/>
            <ac:spMk id="25" creationId="{7B0FF2C8-2CD1-4079-BA2F-BD45B4F81110}"/>
          </ac:spMkLst>
        </pc:spChg>
        <pc:spChg chg="mod">
          <ac:chgData name="Katerine Schifino" userId="37bb67de-9fcf-4611-888c-7e5b58184a2a" providerId="ADAL" clId="{FFC930EA-DB3B-4BF8-A71B-329AD02E46CE}" dt="2022-03-16T20:55:50.831" v="914" actId="20577"/>
          <ac:spMkLst>
            <pc:docMk/>
            <pc:sldMk cId="334504189" sldId="2146846095"/>
            <ac:spMk id="26" creationId="{AD377BC6-9D40-473F-9391-BD5E7A91EAEA}"/>
          </ac:spMkLst>
        </pc:spChg>
        <pc:spChg chg="del">
          <ac:chgData name="Katerine Schifino" userId="37bb67de-9fcf-4611-888c-7e5b58184a2a" providerId="ADAL" clId="{FFC930EA-DB3B-4BF8-A71B-329AD02E46CE}" dt="2022-03-14T21:45:05.989" v="136" actId="478"/>
          <ac:spMkLst>
            <pc:docMk/>
            <pc:sldMk cId="334504189" sldId="2146846095"/>
            <ac:spMk id="30" creationId="{D8157CB6-4DF4-43E1-8A7F-40D04CEFD42B}"/>
          </ac:spMkLst>
        </pc:spChg>
      </pc:sldChg>
      <pc:sldChg chg="modSp add del mod">
        <pc:chgData name="Katerine Schifino" userId="37bb67de-9fcf-4611-888c-7e5b58184a2a" providerId="ADAL" clId="{FFC930EA-DB3B-4BF8-A71B-329AD02E46CE}" dt="2022-03-16T20:57:35.647" v="928" actId="47"/>
        <pc:sldMkLst>
          <pc:docMk/>
          <pc:sldMk cId="2807434247" sldId="2146846096"/>
        </pc:sldMkLst>
        <pc:spChg chg="mod">
          <ac:chgData name="Katerine Schifino" userId="37bb67de-9fcf-4611-888c-7e5b58184a2a" providerId="ADAL" clId="{FFC930EA-DB3B-4BF8-A71B-329AD02E46CE}" dt="2022-03-16T20:55:19.473" v="912" actId="20577"/>
          <ac:spMkLst>
            <pc:docMk/>
            <pc:sldMk cId="2807434247" sldId="2146846096"/>
            <ac:spMk id="26" creationId="{AD377BC6-9D40-473F-9391-BD5E7A91EAEA}"/>
          </ac:spMkLst>
        </pc:spChg>
      </pc:sldChg>
      <pc:sldChg chg="modSp add del mod">
        <pc:chgData name="Katerine Schifino" userId="37bb67de-9fcf-4611-888c-7e5b58184a2a" providerId="ADAL" clId="{FFC930EA-DB3B-4BF8-A71B-329AD02E46CE}" dt="2022-03-16T21:21:04.748" v="1322" actId="47"/>
        <pc:sldMkLst>
          <pc:docMk/>
          <pc:sldMk cId="194792149" sldId="2146846097"/>
        </pc:sldMkLst>
        <pc:spChg chg="mod">
          <ac:chgData name="Katerine Schifino" userId="37bb67de-9fcf-4611-888c-7e5b58184a2a" providerId="ADAL" clId="{FFC930EA-DB3B-4BF8-A71B-329AD02E46CE}" dt="2022-03-15T22:57:13.615" v="348" actId="20577"/>
          <ac:spMkLst>
            <pc:docMk/>
            <pc:sldMk cId="194792149" sldId="2146846097"/>
            <ac:spMk id="26" creationId="{AD377BC6-9D40-473F-9391-BD5E7A91EAEA}"/>
          </ac:spMkLst>
        </pc:spChg>
      </pc:sldChg>
      <pc:sldChg chg="modSp add del mod">
        <pc:chgData name="Katerine Schifino" userId="37bb67de-9fcf-4611-888c-7e5b58184a2a" providerId="ADAL" clId="{FFC930EA-DB3B-4BF8-A71B-329AD02E46CE}" dt="2022-03-16T21:21:06.911" v="1323" actId="47"/>
        <pc:sldMkLst>
          <pc:docMk/>
          <pc:sldMk cId="3061007847" sldId="2146846098"/>
        </pc:sldMkLst>
        <pc:spChg chg="mod">
          <ac:chgData name="Katerine Schifino" userId="37bb67de-9fcf-4611-888c-7e5b58184a2a" providerId="ADAL" clId="{FFC930EA-DB3B-4BF8-A71B-329AD02E46CE}" dt="2022-03-15T22:57:54.221" v="352"/>
          <ac:spMkLst>
            <pc:docMk/>
            <pc:sldMk cId="3061007847" sldId="2146846098"/>
            <ac:spMk id="26" creationId="{AD377BC6-9D40-473F-9391-BD5E7A91EAEA}"/>
          </ac:spMkLst>
        </pc:spChg>
      </pc:sldChg>
      <pc:sldChg chg="addSp delSp modSp add mod ord modClrScheme delAnim modAnim chgLayout">
        <pc:chgData name="Katerine Schifino" userId="37bb67de-9fcf-4611-888c-7e5b58184a2a" providerId="ADAL" clId="{FFC930EA-DB3B-4BF8-A71B-329AD02E46CE}" dt="2022-03-17T17:02:01.434" v="3057"/>
        <pc:sldMkLst>
          <pc:docMk/>
          <pc:sldMk cId="2751092167" sldId="2146846099"/>
        </pc:sldMkLst>
        <pc:spChg chg="del mod ord">
          <ac:chgData name="Katerine Schifino" userId="37bb67de-9fcf-4611-888c-7e5b58184a2a" providerId="ADAL" clId="{FFC930EA-DB3B-4BF8-A71B-329AD02E46CE}" dt="2022-03-16T16:14:57.948" v="355" actId="478"/>
          <ac:spMkLst>
            <pc:docMk/>
            <pc:sldMk cId="2751092167" sldId="2146846099"/>
            <ac:spMk id="2" creationId="{C0E9A057-F805-4750-9C97-49B491EDA40C}"/>
          </ac:spMkLst>
        </pc:spChg>
        <pc:spChg chg="del mod ord">
          <ac:chgData name="Katerine Schifino" userId="37bb67de-9fcf-4611-888c-7e5b58184a2a" providerId="ADAL" clId="{FFC930EA-DB3B-4BF8-A71B-329AD02E46CE}" dt="2022-03-16T16:14:59.399" v="356" actId="478"/>
          <ac:spMkLst>
            <pc:docMk/>
            <pc:sldMk cId="2751092167" sldId="2146846099"/>
            <ac:spMk id="3" creationId="{F4A95292-C17D-4596-AC2A-D617A46EBAA8}"/>
          </ac:spMkLst>
        </pc:spChg>
        <pc:spChg chg="add mod">
          <ac:chgData name="Katerine Schifino" userId="37bb67de-9fcf-4611-888c-7e5b58184a2a" providerId="ADAL" clId="{FFC930EA-DB3B-4BF8-A71B-329AD02E46CE}" dt="2022-03-16T21:21:18.529" v="1324" actId="113"/>
          <ac:spMkLst>
            <pc:docMk/>
            <pc:sldMk cId="2751092167" sldId="2146846099"/>
            <ac:spMk id="4" creationId="{CD3B507D-B343-498F-97D5-78CBF4589AAB}"/>
          </ac:spMkLst>
        </pc:spChg>
        <pc:picChg chg="add mod">
          <ac:chgData name="Katerine Schifino" userId="37bb67de-9fcf-4611-888c-7e5b58184a2a" providerId="ADAL" clId="{FFC930EA-DB3B-4BF8-A71B-329AD02E46CE}" dt="2022-03-17T17:01:45.840" v="3056" actId="14100"/>
          <ac:picMkLst>
            <pc:docMk/>
            <pc:sldMk cId="2751092167" sldId="2146846099"/>
            <ac:picMk id="2" creationId="{EC7706F3-FA14-47B2-9618-8F36A68444B5}"/>
          </ac:picMkLst>
        </pc:picChg>
        <pc:picChg chg="add del mod">
          <ac:chgData name="Katerine Schifino" userId="37bb67de-9fcf-4611-888c-7e5b58184a2a" providerId="ADAL" clId="{FFC930EA-DB3B-4BF8-A71B-329AD02E46CE}" dt="2022-03-17T16:49:59.522" v="3053" actId="478"/>
          <ac:picMkLst>
            <pc:docMk/>
            <pc:sldMk cId="2751092167" sldId="2146846099"/>
            <ac:picMk id="5" creationId="{18D02530-5FDD-41B4-B34C-89175FB7F5E8}"/>
          </ac:picMkLst>
        </pc:picChg>
      </pc:sldChg>
      <pc:sldChg chg="add del">
        <pc:chgData name="Katerine Schifino" userId="37bb67de-9fcf-4611-888c-7e5b58184a2a" providerId="ADAL" clId="{FFC930EA-DB3B-4BF8-A71B-329AD02E46CE}" dt="2022-03-16T16:17:32.982" v="360"/>
        <pc:sldMkLst>
          <pc:docMk/>
          <pc:sldMk cId="645360049" sldId="2146846100"/>
        </pc:sldMkLst>
      </pc:sldChg>
      <pc:sldChg chg="addSp delSp modSp add mod ord addCm delCm modNotesTx">
        <pc:chgData name="Katerine Schifino" userId="37bb67de-9fcf-4611-888c-7e5b58184a2a" providerId="ADAL" clId="{FFC930EA-DB3B-4BF8-A71B-329AD02E46CE}" dt="2022-03-18T13:36:46.235" v="5262" actId="20577"/>
        <pc:sldMkLst>
          <pc:docMk/>
          <pc:sldMk cId="2262069821" sldId="2146846100"/>
        </pc:sldMkLst>
        <pc:spChg chg="mod">
          <ac:chgData name="Katerine Schifino" userId="37bb67de-9fcf-4611-888c-7e5b58184a2a" providerId="ADAL" clId="{FFC930EA-DB3B-4BF8-A71B-329AD02E46CE}" dt="2022-03-16T20:16:35.942" v="572"/>
          <ac:spMkLst>
            <pc:docMk/>
            <pc:sldMk cId="2262069821" sldId="2146846100"/>
            <ac:spMk id="3" creationId="{D27D7BD4-79A4-4F74-AEDD-B6DF3D38FA7F}"/>
          </ac:spMkLst>
        </pc:spChg>
        <pc:spChg chg="add mod">
          <ac:chgData name="Katerine Schifino" userId="37bb67de-9fcf-4611-888c-7e5b58184a2a" providerId="ADAL" clId="{FFC930EA-DB3B-4BF8-A71B-329AD02E46CE}" dt="2022-03-18T13:21:53.255" v="4891" actId="207"/>
          <ac:spMkLst>
            <pc:docMk/>
            <pc:sldMk cId="2262069821" sldId="2146846100"/>
            <ac:spMk id="5" creationId="{799AEABB-32F1-4492-ABE6-3E106E62886E}"/>
          </ac:spMkLst>
        </pc:spChg>
        <pc:spChg chg="add mod">
          <ac:chgData name="Katerine Schifino" userId="37bb67de-9fcf-4611-888c-7e5b58184a2a" providerId="ADAL" clId="{FFC930EA-DB3B-4BF8-A71B-329AD02E46CE}" dt="2022-03-18T13:22:35.534" v="4911" actId="20577"/>
          <ac:spMkLst>
            <pc:docMk/>
            <pc:sldMk cId="2262069821" sldId="2146846100"/>
            <ac:spMk id="7" creationId="{ABB2D93D-2B36-4D95-AE4D-9FF6C87F4FDA}"/>
          </ac:spMkLst>
        </pc:spChg>
        <pc:spChg chg="del mod">
          <ac:chgData name="Katerine Schifino" userId="37bb67de-9fcf-4611-888c-7e5b58184a2a" providerId="ADAL" clId="{FFC930EA-DB3B-4BF8-A71B-329AD02E46CE}" dt="2022-03-16T20:16:37.677" v="573" actId="478"/>
          <ac:spMkLst>
            <pc:docMk/>
            <pc:sldMk cId="2262069821" sldId="2146846100"/>
            <ac:spMk id="26" creationId="{AD377BC6-9D40-473F-9391-BD5E7A91EAEA}"/>
          </ac:spMkLst>
        </pc:spChg>
        <pc:grpChg chg="add mod">
          <ac:chgData name="Katerine Schifino" userId="37bb67de-9fcf-4611-888c-7e5b58184a2a" providerId="ADAL" clId="{FFC930EA-DB3B-4BF8-A71B-329AD02E46CE}" dt="2022-03-16T20:51:49.018" v="843" actId="164"/>
          <ac:grpSpMkLst>
            <pc:docMk/>
            <pc:sldMk cId="2262069821" sldId="2146846100"/>
            <ac:grpSpMk id="9" creationId="{F4B990C9-FA05-4E81-9022-7A394B7C760E}"/>
          </ac:grpSpMkLst>
        </pc:grpChg>
        <pc:picChg chg="add mod">
          <ac:chgData name="Katerine Schifino" userId="37bb67de-9fcf-4611-888c-7e5b58184a2a" providerId="ADAL" clId="{FFC930EA-DB3B-4BF8-A71B-329AD02E46CE}" dt="2022-03-16T20:45:23.384" v="785"/>
          <ac:picMkLst>
            <pc:docMk/>
            <pc:sldMk cId="2262069821" sldId="2146846100"/>
            <ac:picMk id="2050" creationId="{67143078-4EE3-42E7-A854-CB904047C185}"/>
          </ac:picMkLst>
        </pc:picChg>
        <pc:picChg chg="add mod">
          <ac:chgData name="Katerine Schifino" userId="37bb67de-9fcf-4611-888c-7e5b58184a2a" providerId="ADAL" clId="{FFC930EA-DB3B-4BF8-A71B-329AD02E46CE}" dt="2022-03-16T20:51:49.018" v="843" actId="164"/>
          <ac:picMkLst>
            <pc:docMk/>
            <pc:sldMk cId="2262069821" sldId="2146846100"/>
            <ac:picMk id="2052" creationId="{4FF18570-A68E-4016-A866-CF6A7F555082}"/>
          </ac:picMkLst>
        </pc:picChg>
        <pc:cxnChg chg="add mod">
          <ac:chgData name="Katerine Schifino" userId="37bb67de-9fcf-4611-888c-7e5b58184a2a" providerId="ADAL" clId="{FFC930EA-DB3B-4BF8-A71B-329AD02E46CE}" dt="2022-03-16T20:52:03.367" v="845" actId="208"/>
          <ac:cxnSpMkLst>
            <pc:docMk/>
            <pc:sldMk cId="2262069821" sldId="2146846100"/>
            <ac:cxnSpMk id="8" creationId="{84D43EAF-B4BE-400D-9785-71292FDFFC48}"/>
          </ac:cxnSpMkLst>
        </pc:cxnChg>
      </pc:sldChg>
      <pc:sldChg chg="addSp delSp modSp add mod ord modNotesTx">
        <pc:chgData name="Katerine Schifino" userId="37bb67de-9fcf-4611-888c-7e5b58184a2a" providerId="ADAL" clId="{FFC930EA-DB3B-4BF8-A71B-329AD02E46CE}" dt="2022-03-18T13:35:54.528" v="5260" actId="20577"/>
        <pc:sldMkLst>
          <pc:docMk/>
          <pc:sldMk cId="4050850619" sldId="2146846101"/>
        </pc:sldMkLst>
        <pc:spChg chg="add mod">
          <ac:chgData name="Katerine Schifino" userId="37bb67de-9fcf-4611-888c-7e5b58184a2a" providerId="ADAL" clId="{FFC930EA-DB3B-4BF8-A71B-329AD02E46CE}" dt="2022-03-17T17:53:36.438" v="3212" actId="164"/>
          <ac:spMkLst>
            <pc:docMk/>
            <pc:sldMk cId="4050850619" sldId="2146846101"/>
            <ac:spMk id="2" creationId="{3B49E5B8-19E9-4422-A267-22E191D3C958}"/>
          </ac:spMkLst>
        </pc:spChg>
        <pc:spChg chg="del">
          <ac:chgData name="Katerine Schifino" userId="37bb67de-9fcf-4611-888c-7e5b58184a2a" providerId="ADAL" clId="{FFC930EA-DB3B-4BF8-A71B-329AD02E46CE}" dt="2022-03-18T13:31:39.570" v="5079" actId="478"/>
          <ac:spMkLst>
            <pc:docMk/>
            <pc:sldMk cId="4050850619" sldId="2146846101"/>
            <ac:spMk id="3" creationId="{D27D7BD4-79A4-4F74-AEDD-B6DF3D38FA7F}"/>
          </ac:spMkLst>
        </pc:spChg>
        <pc:spChg chg="del mod">
          <ac:chgData name="Katerine Schifino" userId="37bb67de-9fcf-4611-888c-7e5b58184a2a" providerId="ADAL" clId="{FFC930EA-DB3B-4BF8-A71B-329AD02E46CE}" dt="2022-03-17T16:02:09.621" v="2697" actId="21"/>
          <ac:spMkLst>
            <pc:docMk/>
            <pc:sldMk cId="4050850619" sldId="2146846101"/>
            <ac:spMk id="5" creationId="{799AEABB-32F1-4492-ABE6-3E106E62886E}"/>
          </ac:spMkLst>
        </pc:spChg>
        <pc:spChg chg="del mod">
          <ac:chgData name="Katerine Schifino" userId="37bb67de-9fcf-4611-888c-7e5b58184a2a" providerId="ADAL" clId="{FFC930EA-DB3B-4BF8-A71B-329AD02E46CE}" dt="2022-03-17T14:25:04.472" v="2547" actId="478"/>
          <ac:spMkLst>
            <pc:docMk/>
            <pc:sldMk cId="4050850619" sldId="2146846101"/>
            <ac:spMk id="7" creationId="{ABB2D93D-2B36-4D95-AE4D-9FF6C87F4FDA}"/>
          </ac:spMkLst>
        </pc:spChg>
        <pc:spChg chg="add mod">
          <ac:chgData name="Katerine Schifino" userId="37bb67de-9fcf-4611-888c-7e5b58184a2a" providerId="ADAL" clId="{FFC930EA-DB3B-4BF8-A71B-329AD02E46CE}" dt="2022-03-17T18:04:20.446" v="3261" actId="20577"/>
          <ac:spMkLst>
            <pc:docMk/>
            <pc:sldMk cId="4050850619" sldId="2146846101"/>
            <ac:spMk id="10" creationId="{E301DE2B-CFA0-4AA7-BF58-C8525D30A501}"/>
          </ac:spMkLst>
        </pc:spChg>
        <pc:spChg chg="add del mod">
          <ac:chgData name="Katerine Schifino" userId="37bb67de-9fcf-4611-888c-7e5b58184a2a" providerId="ADAL" clId="{FFC930EA-DB3B-4BF8-A71B-329AD02E46CE}" dt="2022-03-18T13:32:02.353" v="5100" actId="478"/>
          <ac:spMkLst>
            <pc:docMk/>
            <pc:sldMk cId="4050850619" sldId="2146846101"/>
            <ac:spMk id="11" creationId="{FA0D5CC2-329A-400E-AC33-FD815153BEAC}"/>
          </ac:spMkLst>
        </pc:spChg>
        <pc:spChg chg="add mod">
          <ac:chgData name="Katerine Schifino" userId="37bb67de-9fcf-4611-888c-7e5b58184a2a" providerId="ADAL" clId="{FFC930EA-DB3B-4BF8-A71B-329AD02E46CE}" dt="2022-03-18T13:23:31.121" v="4956" actId="20577"/>
          <ac:spMkLst>
            <pc:docMk/>
            <pc:sldMk cId="4050850619" sldId="2146846101"/>
            <ac:spMk id="12" creationId="{A7B3DCC7-A365-463C-87BC-C3DC0D51DA37}"/>
          </ac:spMkLst>
        </pc:spChg>
        <pc:spChg chg="add mod">
          <ac:chgData name="Katerine Schifino" userId="37bb67de-9fcf-4611-888c-7e5b58184a2a" providerId="ADAL" clId="{FFC930EA-DB3B-4BF8-A71B-329AD02E46CE}" dt="2022-03-18T13:32:02.683" v="5101"/>
          <ac:spMkLst>
            <pc:docMk/>
            <pc:sldMk cId="4050850619" sldId="2146846101"/>
            <ac:spMk id="13" creationId="{78CBDB71-A7B1-4B32-B5AB-2CDD43BCC9B8}"/>
          </ac:spMkLst>
        </pc:spChg>
        <pc:spChg chg="add mod">
          <ac:chgData name="Katerine Schifino" userId="37bb67de-9fcf-4611-888c-7e5b58184a2a" providerId="ADAL" clId="{FFC930EA-DB3B-4BF8-A71B-329AD02E46CE}" dt="2022-03-17T20:13:19.370" v="4656" actId="14100"/>
          <ac:spMkLst>
            <pc:docMk/>
            <pc:sldMk cId="4050850619" sldId="2146846101"/>
            <ac:spMk id="14" creationId="{2B09DDE2-EDBD-4560-ABD8-E958800C1507}"/>
          </ac:spMkLst>
        </pc:spChg>
        <pc:spChg chg="add mod">
          <ac:chgData name="Katerine Schifino" userId="37bb67de-9fcf-4611-888c-7e5b58184a2a" providerId="ADAL" clId="{FFC930EA-DB3B-4BF8-A71B-329AD02E46CE}" dt="2022-03-17T20:13:14.664" v="4655" actId="20577"/>
          <ac:spMkLst>
            <pc:docMk/>
            <pc:sldMk cId="4050850619" sldId="2146846101"/>
            <ac:spMk id="16" creationId="{9096FC7C-1A83-48BF-8A2F-0A8B74697F48}"/>
          </ac:spMkLst>
        </pc:spChg>
        <pc:spChg chg="add del">
          <ac:chgData name="Katerine Schifino" userId="37bb67de-9fcf-4611-888c-7e5b58184a2a" providerId="ADAL" clId="{FFC930EA-DB3B-4BF8-A71B-329AD02E46CE}" dt="2022-03-17T22:07:30.629" v="4687" actId="478"/>
          <ac:spMkLst>
            <pc:docMk/>
            <pc:sldMk cId="4050850619" sldId="2146846101"/>
            <ac:spMk id="23" creationId="{3E3AA026-E6FD-47DA-896B-B5B391EF8C22}"/>
          </ac:spMkLst>
        </pc:spChg>
        <pc:grpChg chg="add mod">
          <ac:chgData name="Katerine Schifino" userId="37bb67de-9fcf-4611-888c-7e5b58184a2a" providerId="ADAL" clId="{FFC930EA-DB3B-4BF8-A71B-329AD02E46CE}" dt="2022-03-17T17:53:40.731" v="3213" actId="1076"/>
          <ac:grpSpMkLst>
            <pc:docMk/>
            <pc:sldMk cId="4050850619" sldId="2146846101"/>
            <ac:grpSpMk id="19" creationId="{A937DFF5-06AD-45D2-B3C2-E7E46519FF6B}"/>
          </ac:grpSpMkLst>
        </pc:grpChg>
        <pc:picChg chg="add mod">
          <ac:chgData name="Katerine Schifino" userId="37bb67de-9fcf-4611-888c-7e5b58184a2a" providerId="ADAL" clId="{FFC930EA-DB3B-4BF8-A71B-329AD02E46CE}" dt="2022-03-17T17:53:36.438" v="3212" actId="164"/>
          <ac:picMkLst>
            <pc:docMk/>
            <pc:sldMk cId="4050850619" sldId="2146846101"/>
            <ac:picMk id="6" creationId="{1F192696-CBE5-4697-9C12-6894D9A72BD9}"/>
          </ac:picMkLst>
        </pc:picChg>
        <pc:picChg chg="add del mod">
          <ac:chgData name="Katerine Schifino" userId="37bb67de-9fcf-4611-888c-7e5b58184a2a" providerId="ADAL" clId="{FFC930EA-DB3B-4BF8-A71B-329AD02E46CE}" dt="2022-03-17T16:02:09.621" v="2697" actId="21"/>
          <ac:picMkLst>
            <pc:docMk/>
            <pc:sldMk cId="4050850619" sldId="2146846101"/>
            <ac:picMk id="1026" creationId="{B71A90AF-5868-414C-A165-A6032D01C356}"/>
          </ac:picMkLst>
        </pc:picChg>
        <pc:picChg chg="add del mod">
          <ac:chgData name="Katerine Schifino" userId="37bb67de-9fcf-4611-888c-7e5b58184a2a" providerId="ADAL" clId="{FFC930EA-DB3B-4BF8-A71B-329AD02E46CE}" dt="2022-03-17T14:25:06.403" v="2548" actId="478"/>
          <ac:picMkLst>
            <pc:docMk/>
            <pc:sldMk cId="4050850619" sldId="2146846101"/>
            <ac:picMk id="1028" creationId="{5A045692-8076-4E9E-8D43-65EB34294448}"/>
          </ac:picMkLst>
        </pc:picChg>
        <pc:cxnChg chg="add mod">
          <ac:chgData name="Katerine Schifino" userId="37bb67de-9fcf-4611-888c-7e5b58184a2a" providerId="ADAL" clId="{FFC930EA-DB3B-4BF8-A71B-329AD02E46CE}" dt="2022-03-17T18:12:17.676" v="3363" actId="1076"/>
          <ac:cxnSpMkLst>
            <pc:docMk/>
            <pc:sldMk cId="4050850619" sldId="2146846101"/>
            <ac:cxnSpMk id="15" creationId="{655B89E9-81B0-4E6F-963E-5AD968833B55}"/>
          </ac:cxnSpMkLst>
        </pc:cxnChg>
      </pc:sldChg>
      <pc:sldChg chg="addSp delSp modSp add mod ord delAnim">
        <pc:chgData name="Katerine Schifino" userId="37bb67de-9fcf-4611-888c-7e5b58184a2a" providerId="ADAL" clId="{FFC930EA-DB3B-4BF8-A71B-329AD02E46CE}" dt="2022-03-17T22:26:25.243" v="4836" actId="1076"/>
        <pc:sldMkLst>
          <pc:docMk/>
          <pc:sldMk cId="1615697151" sldId="2146846102"/>
        </pc:sldMkLst>
        <pc:spChg chg="add mod">
          <ac:chgData name="Katerine Schifino" userId="37bb67de-9fcf-4611-888c-7e5b58184a2a" providerId="ADAL" clId="{FFC930EA-DB3B-4BF8-A71B-329AD02E46CE}" dt="2022-03-17T18:36:27.476" v="3885" actId="164"/>
          <ac:spMkLst>
            <pc:docMk/>
            <pc:sldMk cId="1615697151" sldId="2146846102"/>
            <ac:spMk id="2" creationId="{1FFC47E6-6142-42F4-A84B-9EB7F01EC7F8}"/>
          </ac:spMkLst>
        </pc:spChg>
        <pc:spChg chg="add mod">
          <ac:chgData name="Katerine Schifino" userId="37bb67de-9fcf-4611-888c-7e5b58184a2a" providerId="ADAL" clId="{FFC930EA-DB3B-4BF8-A71B-329AD02E46CE}" dt="2022-03-17T18:36:27.476" v="3885" actId="164"/>
          <ac:spMkLst>
            <pc:docMk/>
            <pc:sldMk cId="1615697151" sldId="2146846102"/>
            <ac:spMk id="3" creationId="{728DAC43-DF66-439F-B980-9148E08CD435}"/>
          </ac:spMkLst>
        </pc:spChg>
        <pc:spChg chg="add mod">
          <ac:chgData name="Katerine Schifino" userId="37bb67de-9fcf-4611-888c-7e5b58184a2a" providerId="ADAL" clId="{FFC930EA-DB3B-4BF8-A71B-329AD02E46CE}" dt="2022-03-17T18:37:55.759" v="3887" actId="2711"/>
          <ac:spMkLst>
            <pc:docMk/>
            <pc:sldMk cId="1615697151" sldId="2146846102"/>
            <ac:spMk id="6" creationId="{112348B3-0062-49E3-BCA2-B30B6A7D3857}"/>
          </ac:spMkLst>
        </pc:spChg>
        <pc:spChg chg="add mod">
          <ac:chgData name="Katerine Schifino" userId="37bb67de-9fcf-4611-888c-7e5b58184a2a" providerId="ADAL" clId="{FFC930EA-DB3B-4BF8-A71B-329AD02E46CE}" dt="2022-03-17T22:26:25.243" v="4836" actId="1076"/>
          <ac:spMkLst>
            <pc:docMk/>
            <pc:sldMk cId="1615697151" sldId="2146846102"/>
            <ac:spMk id="7" creationId="{37CC03A6-0B85-4EAC-B972-89EF2EF0C703}"/>
          </ac:spMkLst>
        </pc:spChg>
        <pc:spChg chg="add mod">
          <ac:chgData name="Katerine Schifino" userId="37bb67de-9fcf-4611-888c-7e5b58184a2a" providerId="ADAL" clId="{FFC930EA-DB3B-4BF8-A71B-329AD02E46CE}" dt="2022-03-17T18:36:27.476" v="3885" actId="164"/>
          <ac:spMkLst>
            <pc:docMk/>
            <pc:sldMk cId="1615697151" sldId="2146846102"/>
            <ac:spMk id="8" creationId="{372BC2AC-F0DF-4172-86E3-22305243C5D4}"/>
          </ac:spMkLst>
        </pc:spChg>
        <pc:spChg chg="add mod">
          <ac:chgData name="Katerine Schifino" userId="37bb67de-9fcf-4611-888c-7e5b58184a2a" providerId="ADAL" clId="{FFC930EA-DB3B-4BF8-A71B-329AD02E46CE}" dt="2022-03-17T18:36:27.476" v="3885" actId="164"/>
          <ac:spMkLst>
            <pc:docMk/>
            <pc:sldMk cId="1615697151" sldId="2146846102"/>
            <ac:spMk id="9" creationId="{E5B2C4F1-2632-42E6-AD28-059CE5FED87B}"/>
          </ac:spMkLst>
        </pc:spChg>
        <pc:spChg chg="add mod">
          <ac:chgData name="Katerine Schifino" userId="37bb67de-9fcf-4611-888c-7e5b58184a2a" providerId="ADAL" clId="{FFC930EA-DB3B-4BF8-A71B-329AD02E46CE}" dt="2022-03-17T18:36:27.476" v="3885" actId="164"/>
          <ac:spMkLst>
            <pc:docMk/>
            <pc:sldMk cId="1615697151" sldId="2146846102"/>
            <ac:spMk id="10" creationId="{712775FA-3688-46B2-AE46-048AB42C79FE}"/>
          </ac:spMkLst>
        </pc:spChg>
        <pc:spChg chg="add mod">
          <ac:chgData name="Katerine Schifino" userId="37bb67de-9fcf-4611-888c-7e5b58184a2a" providerId="ADAL" clId="{FFC930EA-DB3B-4BF8-A71B-329AD02E46CE}" dt="2022-03-17T18:36:27.476" v="3885" actId="164"/>
          <ac:spMkLst>
            <pc:docMk/>
            <pc:sldMk cId="1615697151" sldId="2146846102"/>
            <ac:spMk id="11" creationId="{7EC1BECD-8FBE-412D-9D58-EA56AF0615F7}"/>
          </ac:spMkLst>
        </pc:spChg>
        <pc:spChg chg="add mod">
          <ac:chgData name="Katerine Schifino" userId="37bb67de-9fcf-4611-888c-7e5b58184a2a" providerId="ADAL" clId="{FFC930EA-DB3B-4BF8-A71B-329AD02E46CE}" dt="2022-03-17T18:36:27.476" v="3885" actId="164"/>
          <ac:spMkLst>
            <pc:docMk/>
            <pc:sldMk cId="1615697151" sldId="2146846102"/>
            <ac:spMk id="12" creationId="{287C8A8E-1F46-437F-895D-F3AC935A948D}"/>
          </ac:spMkLst>
        </pc:spChg>
        <pc:spChg chg="add mod">
          <ac:chgData name="Katerine Schifino" userId="37bb67de-9fcf-4611-888c-7e5b58184a2a" providerId="ADAL" clId="{FFC930EA-DB3B-4BF8-A71B-329AD02E46CE}" dt="2022-03-17T18:36:27.476" v="3885" actId="164"/>
          <ac:spMkLst>
            <pc:docMk/>
            <pc:sldMk cId="1615697151" sldId="2146846102"/>
            <ac:spMk id="13" creationId="{A28EC788-AA71-48ED-82D5-C107D2143145}"/>
          </ac:spMkLst>
        </pc:spChg>
        <pc:spChg chg="add mod">
          <ac:chgData name="Katerine Schifino" userId="37bb67de-9fcf-4611-888c-7e5b58184a2a" providerId="ADAL" clId="{FFC930EA-DB3B-4BF8-A71B-329AD02E46CE}" dt="2022-03-17T18:36:27.476" v="3885" actId="164"/>
          <ac:spMkLst>
            <pc:docMk/>
            <pc:sldMk cId="1615697151" sldId="2146846102"/>
            <ac:spMk id="14" creationId="{09F19AA4-CB6D-46F3-9701-874E551AB14C}"/>
          </ac:spMkLst>
        </pc:spChg>
        <pc:spChg chg="add mod">
          <ac:chgData name="Katerine Schifino" userId="37bb67de-9fcf-4611-888c-7e5b58184a2a" providerId="ADAL" clId="{FFC930EA-DB3B-4BF8-A71B-329AD02E46CE}" dt="2022-03-17T20:43:25.807" v="4670" actId="207"/>
          <ac:spMkLst>
            <pc:docMk/>
            <pc:sldMk cId="1615697151" sldId="2146846102"/>
            <ac:spMk id="16" creationId="{EC62EFA7-10ED-4D9C-A2C9-CF2A274A633C}"/>
          </ac:spMkLst>
        </pc:spChg>
        <pc:grpChg chg="add mod">
          <ac:chgData name="Katerine Schifino" userId="37bb67de-9fcf-4611-888c-7e5b58184a2a" providerId="ADAL" clId="{FFC930EA-DB3B-4BF8-A71B-329AD02E46CE}" dt="2022-03-17T18:36:27.476" v="3885" actId="164"/>
          <ac:grpSpMkLst>
            <pc:docMk/>
            <pc:sldMk cId="1615697151" sldId="2146846102"/>
            <ac:grpSpMk id="5" creationId="{BDD21CFA-4114-460D-B03D-F89EF64516C2}"/>
          </ac:grpSpMkLst>
        </pc:grpChg>
        <pc:picChg chg="del">
          <ac:chgData name="Katerine Schifino" userId="37bb67de-9fcf-4611-888c-7e5b58184a2a" providerId="ADAL" clId="{FFC930EA-DB3B-4BF8-A71B-329AD02E46CE}" dt="2022-03-16T21:55:39.012" v="1346" actId="478"/>
          <ac:picMkLst>
            <pc:docMk/>
            <pc:sldMk cId="1615697151" sldId="2146846102"/>
            <ac:picMk id="5" creationId="{18D02530-5FDD-41B4-B34C-89175FB7F5E8}"/>
          </ac:picMkLst>
        </pc:picChg>
        <pc:picChg chg="add mod">
          <ac:chgData name="Katerine Schifino" userId="37bb67de-9fcf-4611-888c-7e5b58184a2a" providerId="ADAL" clId="{FFC930EA-DB3B-4BF8-A71B-329AD02E46CE}" dt="2022-03-17T18:36:27.476" v="3885" actId="164"/>
          <ac:picMkLst>
            <pc:docMk/>
            <pc:sldMk cId="1615697151" sldId="2146846102"/>
            <ac:picMk id="3074" creationId="{CE9C3E79-35DF-44DE-82E7-091CCCF2D4B7}"/>
          </ac:picMkLst>
        </pc:picChg>
      </pc:sldChg>
      <pc:sldChg chg="addSp delSp modSp add mod modNotesTx">
        <pc:chgData name="Katerine Schifino" userId="37bb67de-9fcf-4611-888c-7e5b58184a2a" providerId="ADAL" clId="{FFC930EA-DB3B-4BF8-A71B-329AD02E46CE}" dt="2022-03-18T13:56:28.432" v="5681" actId="1076"/>
        <pc:sldMkLst>
          <pc:docMk/>
          <pc:sldMk cId="2320250215" sldId="2146846103"/>
        </pc:sldMkLst>
        <pc:spChg chg="mod">
          <ac:chgData name="Katerine Schifino" userId="37bb67de-9fcf-4611-888c-7e5b58184a2a" providerId="ADAL" clId="{FFC930EA-DB3B-4BF8-A71B-329AD02E46CE}" dt="2022-03-18T13:47:35.556" v="5329" actId="20577"/>
          <ac:spMkLst>
            <pc:docMk/>
            <pc:sldMk cId="2320250215" sldId="2146846103"/>
            <ac:spMk id="4" creationId="{CD3B507D-B343-498F-97D5-78CBF4589AAB}"/>
          </ac:spMkLst>
        </pc:spChg>
        <pc:spChg chg="del mod ord">
          <ac:chgData name="Katerine Schifino" userId="37bb67de-9fcf-4611-888c-7e5b58184a2a" providerId="ADAL" clId="{FFC930EA-DB3B-4BF8-A71B-329AD02E46CE}" dt="2022-03-18T13:46:52.984" v="5275" actId="478"/>
          <ac:spMkLst>
            <pc:docMk/>
            <pc:sldMk cId="2320250215" sldId="2146846103"/>
            <ac:spMk id="6" creationId="{112348B3-0062-49E3-BCA2-B30B6A7D3857}"/>
          </ac:spMkLst>
        </pc:spChg>
        <pc:spChg chg="add mod">
          <ac:chgData name="Katerine Schifino" userId="37bb67de-9fcf-4611-888c-7e5b58184a2a" providerId="ADAL" clId="{FFC930EA-DB3B-4BF8-A71B-329AD02E46CE}" dt="2022-03-18T13:56:25.214" v="5680" actId="1076"/>
          <ac:spMkLst>
            <pc:docMk/>
            <pc:sldMk cId="2320250215" sldId="2146846103"/>
            <ac:spMk id="7" creationId="{2C5F50B8-5FDA-4643-AD93-28CE2F01E240}"/>
          </ac:spMkLst>
        </pc:spChg>
        <pc:picChg chg="add del mod">
          <ac:chgData name="Katerine Schifino" userId="37bb67de-9fcf-4611-888c-7e5b58184a2a" providerId="ADAL" clId="{FFC930EA-DB3B-4BF8-A71B-329AD02E46CE}" dt="2022-03-18T13:53:30.201" v="5634" actId="478"/>
          <ac:picMkLst>
            <pc:docMk/>
            <pc:sldMk cId="2320250215" sldId="2146846103"/>
            <ac:picMk id="5" creationId="{446A2391-07E2-420A-9DF8-E8B89E96EB3F}"/>
          </ac:picMkLst>
        </pc:picChg>
        <pc:picChg chg="add mod">
          <ac:chgData name="Katerine Schifino" userId="37bb67de-9fcf-4611-888c-7e5b58184a2a" providerId="ADAL" clId="{FFC930EA-DB3B-4BF8-A71B-329AD02E46CE}" dt="2022-03-18T13:54:09.061" v="5659" actId="1076"/>
          <ac:picMkLst>
            <pc:docMk/>
            <pc:sldMk cId="2320250215" sldId="2146846103"/>
            <ac:picMk id="9" creationId="{A2ECEB14-6EB2-42FD-A25C-5DD6B3BF12AA}"/>
          </ac:picMkLst>
        </pc:picChg>
        <pc:picChg chg="add mod">
          <ac:chgData name="Katerine Schifino" userId="37bb67de-9fcf-4611-888c-7e5b58184a2a" providerId="ADAL" clId="{FFC930EA-DB3B-4BF8-A71B-329AD02E46CE}" dt="2022-03-18T13:56:28.432" v="5681" actId="1076"/>
          <ac:picMkLst>
            <pc:docMk/>
            <pc:sldMk cId="2320250215" sldId="2146846103"/>
            <ac:picMk id="11" creationId="{C8C4C750-D0D6-4F9F-A924-CDAE8BF608A7}"/>
          </ac:picMkLst>
        </pc:picChg>
        <pc:picChg chg="add mod">
          <ac:chgData name="Katerine Schifino" userId="37bb67de-9fcf-4611-888c-7e5b58184a2a" providerId="ADAL" clId="{FFC930EA-DB3B-4BF8-A71B-329AD02E46CE}" dt="2022-03-18T13:54:05.012" v="5658" actId="1076"/>
          <ac:picMkLst>
            <pc:docMk/>
            <pc:sldMk cId="2320250215" sldId="2146846103"/>
            <ac:picMk id="13" creationId="{A0A22312-1DE6-4FA2-8D7F-F183C26B108A}"/>
          </ac:picMkLst>
        </pc:picChg>
        <pc:picChg chg="add mod">
          <ac:chgData name="Katerine Schifino" userId="37bb67de-9fcf-4611-888c-7e5b58184a2a" providerId="ADAL" clId="{FFC930EA-DB3B-4BF8-A71B-329AD02E46CE}" dt="2022-03-18T13:54:03.013" v="5657" actId="1076"/>
          <ac:picMkLst>
            <pc:docMk/>
            <pc:sldMk cId="2320250215" sldId="2146846103"/>
            <ac:picMk id="15" creationId="{87BCC9D9-7600-4C70-A943-7511727CF468}"/>
          </ac:picMkLst>
        </pc:picChg>
        <pc:picChg chg="del">
          <ac:chgData name="Katerine Schifino" userId="37bb67de-9fcf-4611-888c-7e5b58184a2a" providerId="ADAL" clId="{FFC930EA-DB3B-4BF8-A71B-329AD02E46CE}" dt="2022-03-16T22:04:54.049" v="1364" actId="478"/>
          <ac:picMkLst>
            <pc:docMk/>
            <pc:sldMk cId="2320250215" sldId="2146846103"/>
            <ac:picMk id="3074" creationId="{CE9C3E79-35DF-44DE-82E7-091CCCF2D4B7}"/>
          </ac:picMkLst>
        </pc:picChg>
        <pc:picChg chg="add del mod">
          <ac:chgData name="Katerine Schifino" userId="37bb67de-9fcf-4611-888c-7e5b58184a2a" providerId="ADAL" clId="{FFC930EA-DB3B-4BF8-A71B-329AD02E46CE}" dt="2022-03-16T22:47:17.248" v="2533" actId="478"/>
          <ac:picMkLst>
            <pc:docMk/>
            <pc:sldMk cId="2320250215" sldId="2146846103"/>
            <ac:picMk id="5122" creationId="{DA7A4B3D-0D5D-484C-8D9D-752655F5453F}"/>
          </ac:picMkLst>
        </pc:picChg>
        <pc:picChg chg="add del mod">
          <ac:chgData name="Katerine Schifino" userId="37bb67de-9fcf-4611-888c-7e5b58184a2a" providerId="ADAL" clId="{FFC930EA-DB3B-4BF8-A71B-329AD02E46CE}" dt="2022-03-18T13:46:52.984" v="5275" actId="478"/>
          <ac:picMkLst>
            <pc:docMk/>
            <pc:sldMk cId="2320250215" sldId="2146846103"/>
            <ac:picMk id="5124" creationId="{3AF1774A-4826-4DB3-A8CA-AAEA509EEBC6}"/>
          </ac:picMkLst>
        </pc:picChg>
      </pc:sldChg>
      <pc:sldChg chg="addSp delSp modSp add del mod">
        <pc:chgData name="Katerine Schifino" userId="37bb67de-9fcf-4611-888c-7e5b58184a2a" providerId="ADAL" clId="{FFC930EA-DB3B-4BF8-A71B-329AD02E46CE}" dt="2022-03-18T21:11:28.899" v="7449" actId="47"/>
        <pc:sldMkLst>
          <pc:docMk/>
          <pc:sldMk cId="2367529978" sldId="2146846104"/>
        </pc:sldMkLst>
        <pc:spChg chg="add mod">
          <ac:chgData name="Katerine Schifino" userId="37bb67de-9fcf-4611-888c-7e5b58184a2a" providerId="ADAL" clId="{FFC930EA-DB3B-4BF8-A71B-329AD02E46CE}" dt="2022-03-16T22:42:40.569" v="2471" actId="164"/>
          <ac:spMkLst>
            <pc:docMk/>
            <pc:sldMk cId="2367529978" sldId="2146846104"/>
            <ac:spMk id="2" creationId="{AD32C72C-1F96-4DFD-ADD8-EB98012F7829}"/>
          </ac:spMkLst>
        </pc:spChg>
        <pc:spChg chg="add mod">
          <ac:chgData name="Katerine Schifino" userId="37bb67de-9fcf-4611-888c-7e5b58184a2a" providerId="ADAL" clId="{FFC930EA-DB3B-4BF8-A71B-329AD02E46CE}" dt="2022-03-17T19:02:28.171" v="4123" actId="1076"/>
          <ac:spMkLst>
            <pc:docMk/>
            <pc:sldMk cId="2367529978" sldId="2146846104"/>
            <ac:spMk id="3" creationId="{F37952A8-26A7-4620-BB6E-749B2F7FE437}"/>
          </ac:spMkLst>
        </pc:spChg>
        <pc:spChg chg="mod">
          <ac:chgData name="Katerine Schifino" userId="37bb67de-9fcf-4611-888c-7e5b58184a2a" providerId="ADAL" clId="{FFC930EA-DB3B-4BF8-A71B-329AD02E46CE}" dt="2022-03-17T22:26:55.781" v="4861" actId="20577"/>
          <ac:spMkLst>
            <pc:docMk/>
            <pc:sldMk cId="2367529978" sldId="2146846104"/>
            <ac:spMk id="4" creationId="{CD3B507D-B343-498F-97D5-78CBF4589AAB}"/>
          </ac:spMkLst>
        </pc:spChg>
        <pc:spChg chg="del">
          <ac:chgData name="Katerine Schifino" userId="37bb67de-9fcf-4611-888c-7e5b58184a2a" providerId="ADAL" clId="{FFC930EA-DB3B-4BF8-A71B-329AD02E46CE}" dt="2022-03-16T22:14:21.648" v="1746" actId="478"/>
          <ac:spMkLst>
            <pc:docMk/>
            <pc:sldMk cId="2367529978" sldId="2146846104"/>
            <ac:spMk id="6" creationId="{112348B3-0062-49E3-BCA2-B30B6A7D3857}"/>
          </ac:spMkLst>
        </pc:spChg>
        <pc:spChg chg="add mod">
          <ac:chgData name="Katerine Schifino" userId="37bb67de-9fcf-4611-888c-7e5b58184a2a" providerId="ADAL" clId="{FFC930EA-DB3B-4BF8-A71B-329AD02E46CE}" dt="2022-03-16T22:42:40.569" v="2471" actId="164"/>
          <ac:spMkLst>
            <pc:docMk/>
            <pc:sldMk cId="2367529978" sldId="2146846104"/>
            <ac:spMk id="7" creationId="{FA6EFE21-4F3A-45B5-ABF0-093745D6274C}"/>
          </ac:spMkLst>
        </pc:spChg>
        <pc:spChg chg="add mod">
          <ac:chgData name="Katerine Schifino" userId="37bb67de-9fcf-4611-888c-7e5b58184a2a" providerId="ADAL" clId="{FFC930EA-DB3B-4BF8-A71B-329AD02E46CE}" dt="2022-03-16T22:42:40.569" v="2471" actId="164"/>
          <ac:spMkLst>
            <pc:docMk/>
            <pc:sldMk cId="2367529978" sldId="2146846104"/>
            <ac:spMk id="8" creationId="{F03B8265-C3FC-49AD-B22E-50F543F8AA49}"/>
          </ac:spMkLst>
        </pc:spChg>
        <pc:spChg chg="add mod">
          <ac:chgData name="Katerine Schifino" userId="37bb67de-9fcf-4611-888c-7e5b58184a2a" providerId="ADAL" clId="{FFC930EA-DB3B-4BF8-A71B-329AD02E46CE}" dt="2022-03-16T22:42:40.569" v="2471" actId="164"/>
          <ac:spMkLst>
            <pc:docMk/>
            <pc:sldMk cId="2367529978" sldId="2146846104"/>
            <ac:spMk id="9" creationId="{9A1983EF-D4FF-46B1-8440-DF33A25B17E4}"/>
          </ac:spMkLst>
        </pc:spChg>
        <pc:spChg chg="add mod">
          <ac:chgData name="Katerine Schifino" userId="37bb67de-9fcf-4611-888c-7e5b58184a2a" providerId="ADAL" clId="{FFC930EA-DB3B-4BF8-A71B-329AD02E46CE}" dt="2022-03-16T22:42:40.569" v="2471" actId="164"/>
          <ac:spMkLst>
            <pc:docMk/>
            <pc:sldMk cId="2367529978" sldId="2146846104"/>
            <ac:spMk id="10" creationId="{87810E87-F3A4-403D-9665-3B3290A9623E}"/>
          </ac:spMkLst>
        </pc:spChg>
        <pc:spChg chg="add mod">
          <ac:chgData name="Katerine Schifino" userId="37bb67de-9fcf-4611-888c-7e5b58184a2a" providerId="ADAL" clId="{FFC930EA-DB3B-4BF8-A71B-329AD02E46CE}" dt="2022-03-16T22:42:40.569" v="2471" actId="164"/>
          <ac:spMkLst>
            <pc:docMk/>
            <pc:sldMk cId="2367529978" sldId="2146846104"/>
            <ac:spMk id="11" creationId="{2D70ED3A-26F9-4DA8-83EB-F7904304F66B}"/>
          </ac:spMkLst>
        </pc:spChg>
        <pc:spChg chg="add mod">
          <ac:chgData name="Katerine Schifino" userId="37bb67de-9fcf-4611-888c-7e5b58184a2a" providerId="ADAL" clId="{FFC930EA-DB3B-4BF8-A71B-329AD02E46CE}" dt="2022-03-16T22:42:40.569" v="2471" actId="164"/>
          <ac:spMkLst>
            <pc:docMk/>
            <pc:sldMk cId="2367529978" sldId="2146846104"/>
            <ac:spMk id="12" creationId="{8F9F3F36-EB7E-435E-8B73-D6819A0E0E16}"/>
          </ac:spMkLst>
        </pc:spChg>
        <pc:spChg chg="add mod">
          <ac:chgData name="Katerine Schifino" userId="37bb67de-9fcf-4611-888c-7e5b58184a2a" providerId="ADAL" clId="{FFC930EA-DB3B-4BF8-A71B-329AD02E46CE}" dt="2022-03-16T22:42:40.569" v="2471" actId="164"/>
          <ac:spMkLst>
            <pc:docMk/>
            <pc:sldMk cId="2367529978" sldId="2146846104"/>
            <ac:spMk id="13" creationId="{76396A78-CA3F-4CB5-B0C1-0088D495A014}"/>
          </ac:spMkLst>
        </pc:spChg>
        <pc:spChg chg="add mod">
          <ac:chgData name="Katerine Schifino" userId="37bb67de-9fcf-4611-888c-7e5b58184a2a" providerId="ADAL" clId="{FFC930EA-DB3B-4BF8-A71B-329AD02E46CE}" dt="2022-03-16T22:42:40.569" v="2471" actId="164"/>
          <ac:spMkLst>
            <pc:docMk/>
            <pc:sldMk cId="2367529978" sldId="2146846104"/>
            <ac:spMk id="17" creationId="{2C52C0E2-7615-47CE-9329-55869F51964D}"/>
          </ac:spMkLst>
        </pc:spChg>
        <pc:spChg chg="add mod">
          <ac:chgData name="Katerine Schifino" userId="37bb67de-9fcf-4611-888c-7e5b58184a2a" providerId="ADAL" clId="{FFC930EA-DB3B-4BF8-A71B-329AD02E46CE}" dt="2022-03-16T22:42:40.569" v="2471" actId="164"/>
          <ac:spMkLst>
            <pc:docMk/>
            <pc:sldMk cId="2367529978" sldId="2146846104"/>
            <ac:spMk id="18" creationId="{0688AE72-9DCC-4D78-AD8E-FC32C6BE67FF}"/>
          </ac:spMkLst>
        </pc:spChg>
        <pc:spChg chg="add mod">
          <ac:chgData name="Katerine Schifino" userId="37bb67de-9fcf-4611-888c-7e5b58184a2a" providerId="ADAL" clId="{FFC930EA-DB3B-4BF8-A71B-329AD02E46CE}" dt="2022-03-16T22:42:40.569" v="2471" actId="164"/>
          <ac:spMkLst>
            <pc:docMk/>
            <pc:sldMk cId="2367529978" sldId="2146846104"/>
            <ac:spMk id="19" creationId="{2B3082CB-7F63-49CF-9FB3-111A055648DD}"/>
          </ac:spMkLst>
        </pc:spChg>
        <pc:spChg chg="add mod">
          <ac:chgData name="Katerine Schifino" userId="37bb67de-9fcf-4611-888c-7e5b58184a2a" providerId="ADAL" clId="{FFC930EA-DB3B-4BF8-A71B-329AD02E46CE}" dt="2022-03-16T22:42:40.569" v="2471" actId="164"/>
          <ac:spMkLst>
            <pc:docMk/>
            <pc:sldMk cId="2367529978" sldId="2146846104"/>
            <ac:spMk id="20" creationId="{8160494A-B5A6-4F23-827C-054E6D44097C}"/>
          </ac:spMkLst>
        </pc:spChg>
        <pc:spChg chg="add mod">
          <ac:chgData name="Katerine Schifino" userId="37bb67de-9fcf-4611-888c-7e5b58184a2a" providerId="ADAL" clId="{FFC930EA-DB3B-4BF8-A71B-329AD02E46CE}" dt="2022-03-16T22:42:40.569" v="2471" actId="164"/>
          <ac:spMkLst>
            <pc:docMk/>
            <pc:sldMk cId="2367529978" sldId="2146846104"/>
            <ac:spMk id="21" creationId="{6091546B-A0F7-4E1D-B868-656797AE017A}"/>
          </ac:spMkLst>
        </pc:spChg>
        <pc:spChg chg="add mod">
          <ac:chgData name="Katerine Schifino" userId="37bb67de-9fcf-4611-888c-7e5b58184a2a" providerId="ADAL" clId="{FFC930EA-DB3B-4BF8-A71B-329AD02E46CE}" dt="2022-03-16T22:42:40.569" v="2471" actId="164"/>
          <ac:spMkLst>
            <pc:docMk/>
            <pc:sldMk cId="2367529978" sldId="2146846104"/>
            <ac:spMk id="22" creationId="{F8F8F633-3053-46E3-A104-33F46481EC99}"/>
          </ac:spMkLst>
        </pc:spChg>
        <pc:spChg chg="add mod">
          <ac:chgData name="Katerine Schifino" userId="37bb67de-9fcf-4611-888c-7e5b58184a2a" providerId="ADAL" clId="{FFC930EA-DB3B-4BF8-A71B-329AD02E46CE}" dt="2022-03-16T22:42:40.569" v="2471" actId="164"/>
          <ac:spMkLst>
            <pc:docMk/>
            <pc:sldMk cId="2367529978" sldId="2146846104"/>
            <ac:spMk id="23" creationId="{F54CC053-6EF7-4F0A-AD79-3D85E55AFAD9}"/>
          </ac:spMkLst>
        </pc:spChg>
        <pc:spChg chg="add del mod">
          <ac:chgData name="Katerine Schifino" userId="37bb67de-9fcf-4611-888c-7e5b58184a2a" providerId="ADAL" clId="{FFC930EA-DB3B-4BF8-A71B-329AD02E46CE}" dt="2022-03-16T22:31:20.810" v="2332" actId="478"/>
          <ac:spMkLst>
            <pc:docMk/>
            <pc:sldMk cId="2367529978" sldId="2146846104"/>
            <ac:spMk id="24" creationId="{6D48883A-4494-4E58-8D95-E6E03A0E1201}"/>
          </ac:spMkLst>
        </pc:spChg>
        <pc:spChg chg="add del mod">
          <ac:chgData name="Katerine Schifino" userId="37bb67de-9fcf-4611-888c-7e5b58184a2a" providerId="ADAL" clId="{FFC930EA-DB3B-4BF8-A71B-329AD02E46CE}" dt="2022-03-16T22:31:20.810" v="2332" actId="478"/>
          <ac:spMkLst>
            <pc:docMk/>
            <pc:sldMk cId="2367529978" sldId="2146846104"/>
            <ac:spMk id="25" creationId="{9C4E7890-E274-4342-9C83-02B5A38F350A}"/>
          </ac:spMkLst>
        </pc:spChg>
        <pc:spChg chg="add del mod">
          <ac:chgData name="Katerine Schifino" userId="37bb67de-9fcf-4611-888c-7e5b58184a2a" providerId="ADAL" clId="{FFC930EA-DB3B-4BF8-A71B-329AD02E46CE}" dt="2022-03-16T22:31:20.810" v="2332" actId="478"/>
          <ac:spMkLst>
            <pc:docMk/>
            <pc:sldMk cId="2367529978" sldId="2146846104"/>
            <ac:spMk id="26" creationId="{D0FE990F-0453-4550-9293-61B134C4E928}"/>
          </ac:spMkLst>
        </pc:spChg>
        <pc:spChg chg="add del mod">
          <ac:chgData name="Katerine Schifino" userId="37bb67de-9fcf-4611-888c-7e5b58184a2a" providerId="ADAL" clId="{FFC930EA-DB3B-4BF8-A71B-329AD02E46CE}" dt="2022-03-16T22:31:23.543" v="2333" actId="478"/>
          <ac:spMkLst>
            <pc:docMk/>
            <pc:sldMk cId="2367529978" sldId="2146846104"/>
            <ac:spMk id="27" creationId="{4EBC8ACD-E85E-4EA8-B8E5-FA35C71C73E3}"/>
          </ac:spMkLst>
        </pc:spChg>
        <pc:spChg chg="add del mod">
          <ac:chgData name="Katerine Schifino" userId="37bb67de-9fcf-4611-888c-7e5b58184a2a" providerId="ADAL" clId="{FFC930EA-DB3B-4BF8-A71B-329AD02E46CE}" dt="2022-03-16T22:31:23.543" v="2333" actId="478"/>
          <ac:spMkLst>
            <pc:docMk/>
            <pc:sldMk cId="2367529978" sldId="2146846104"/>
            <ac:spMk id="28" creationId="{C07952BD-66B3-4A77-95CE-22E93D33FD91}"/>
          </ac:spMkLst>
        </pc:spChg>
        <pc:spChg chg="add del mod">
          <ac:chgData name="Katerine Schifino" userId="37bb67de-9fcf-4611-888c-7e5b58184a2a" providerId="ADAL" clId="{FFC930EA-DB3B-4BF8-A71B-329AD02E46CE}" dt="2022-03-16T22:31:23.543" v="2333" actId="478"/>
          <ac:spMkLst>
            <pc:docMk/>
            <pc:sldMk cId="2367529978" sldId="2146846104"/>
            <ac:spMk id="29" creationId="{A462831B-1C16-457E-82F4-946F0696A2B1}"/>
          </ac:spMkLst>
        </pc:spChg>
        <pc:spChg chg="add del mod">
          <ac:chgData name="Katerine Schifino" userId="37bb67de-9fcf-4611-888c-7e5b58184a2a" providerId="ADAL" clId="{FFC930EA-DB3B-4BF8-A71B-329AD02E46CE}" dt="2022-03-16T22:31:23.543" v="2333" actId="478"/>
          <ac:spMkLst>
            <pc:docMk/>
            <pc:sldMk cId="2367529978" sldId="2146846104"/>
            <ac:spMk id="30" creationId="{8FC594D8-10DE-4B6C-8DC0-EAF5997BC9E6}"/>
          </ac:spMkLst>
        </pc:spChg>
        <pc:spChg chg="add del mod">
          <ac:chgData name="Katerine Schifino" userId="37bb67de-9fcf-4611-888c-7e5b58184a2a" providerId="ADAL" clId="{FFC930EA-DB3B-4BF8-A71B-329AD02E46CE}" dt="2022-03-16T22:31:20.810" v="2332" actId="478"/>
          <ac:spMkLst>
            <pc:docMk/>
            <pc:sldMk cId="2367529978" sldId="2146846104"/>
            <ac:spMk id="31" creationId="{2EFCE22A-FF36-4093-9732-A45CE5F4EB3B}"/>
          </ac:spMkLst>
        </pc:spChg>
        <pc:spChg chg="add del mod">
          <ac:chgData name="Katerine Schifino" userId="37bb67de-9fcf-4611-888c-7e5b58184a2a" providerId="ADAL" clId="{FFC930EA-DB3B-4BF8-A71B-329AD02E46CE}" dt="2022-03-16T22:31:20.810" v="2332" actId="478"/>
          <ac:spMkLst>
            <pc:docMk/>
            <pc:sldMk cId="2367529978" sldId="2146846104"/>
            <ac:spMk id="32" creationId="{C3094ED6-6A4D-42CE-916B-B25C349332F9}"/>
          </ac:spMkLst>
        </pc:spChg>
        <pc:spChg chg="add del mod">
          <ac:chgData name="Katerine Schifino" userId="37bb67de-9fcf-4611-888c-7e5b58184a2a" providerId="ADAL" clId="{FFC930EA-DB3B-4BF8-A71B-329AD02E46CE}" dt="2022-03-16T22:31:20.810" v="2332" actId="478"/>
          <ac:spMkLst>
            <pc:docMk/>
            <pc:sldMk cId="2367529978" sldId="2146846104"/>
            <ac:spMk id="33" creationId="{866062D5-E524-43DC-890E-E828A3FED1FF}"/>
          </ac:spMkLst>
        </pc:spChg>
        <pc:spChg chg="add del mod">
          <ac:chgData name="Katerine Schifino" userId="37bb67de-9fcf-4611-888c-7e5b58184a2a" providerId="ADAL" clId="{FFC930EA-DB3B-4BF8-A71B-329AD02E46CE}" dt="2022-03-16T22:31:23.543" v="2333" actId="478"/>
          <ac:spMkLst>
            <pc:docMk/>
            <pc:sldMk cId="2367529978" sldId="2146846104"/>
            <ac:spMk id="34" creationId="{06AA7B58-B860-4667-8D00-FAB025174BD1}"/>
          </ac:spMkLst>
        </pc:spChg>
        <pc:spChg chg="add del mod">
          <ac:chgData name="Katerine Schifino" userId="37bb67de-9fcf-4611-888c-7e5b58184a2a" providerId="ADAL" clId="{FFC930EA-DB3B-4BF8-A71B-329AD02E46CE}" dt="2022-03-16T22:31:23.543" v="2333" actId="478"/>
          <ac:spMkLst>
            <pc:docMk/>
            <pc:sldMk cId="2367529978" sldId="2146846104"/>
            <ac:spMk id="35" creationId="{19F1937A-9D2B-4887-A458-2543EC51FB26}"/>
          </ac:spMkLst>
        </pc:spChg>
        <pc:spChg chg="add del mod">
          <ac:chgData name="Katerine Schifino" userId="37bb67de-9fcf-4611-888c-7e5b58184a2a" providerId="ADAL" clId="{FFC930EA-DB3B-4BF8-A71B-329AD02E46CE}" dt="2022-03-16T22:31:23.543" v="2333" actId="478"/>
          <ac:spMkLst>
            <pc:docMk/>
            <pc:sldMk cId="2367529978" sldId="2146846104"/>
            <ac:spMk id="36" creationId="{F17FFBE8-BDDB-4F22-ABFA-9E2271E52B10}"/>
          </ac:spMkLst>
        </pc:spChg>
        <pc:spChg chg="add del mod">
          <ac:chgData name="Katerine Schifino" userId="37bb67de-9fcf-4611-888c-7e5b58184a2a" providerId="ADAL" clId="{FFC930EA-DB3B-4BF8-A71B-329AD02E46CE}" dt="2022-03-16T22:31:23.543" v="2333" actId="478"/>
          <ac:spMkLst>
            <pc:docMk/>
            <pc:sldMk cId="2367529978" sldId="2146846104"/>
            <ac:spMk id="37" creationId="{FF56ED0D-0344-4372-B2D7-7B46A9B34F3D}"/>
          </ac:spMkLst>
        </pc:spChg>
        <pc:spChg chg="add mod">
          <ac:chgData name="Katerine Schifino" userId="37bb67de-9fcf-4611-888c-7e5b58184a2a" providerId="ADAL" clId="{FFC930EA-DB3B-4BF8-A71B-329AD02E46CE}" dt="2022-03-16T22:42:40.569" v="2471" actId="164"/>
          <ac:spMkLst>
            <pc:docMk/>
            <pc:sldMk cId="2367529978" sldId="2146846104"/>
            <ac:spMk id="38" creationId="{1E939950-55B8-442A-9079-1DDA326A7D4B}"/>
          </ac:spMkLst>
        </pc:spChg>
        <pc:spChg chg="add mod">
          <ac:chgData name="Katerine Schifino" userId="37bb67de-9fcf-4611-888c-7e5b58184a2a" providerId="ADAL" clId="{FFC930EA-DB3B-4BF8-A71B-329AD02E46CE}" dt="2022-03-16T22:42:40.569" v="2471" actId="164"/>
          <ac:spMkLst>
            <pc:docMk/>
            <pc:sldMk cId="2367529978" sldId="2146846104"/>
            <ac:spMk id="39" creationId="{BBB8749C-1D72-409B-B6AF-931B6A0B45ED}"/>
          </ac:spMkLst>
        </pc:spChg>
        <pc:spChg chg="add mod">
          <ac:chgData name="Katerine Schifino" userId="37bb67de-9fcf-4611-888c-7e5b58184a2a" providerId="ADAL" clId="{FFC930EA-DB3B-4BF8-A71B-329AD02E46CE}" dt="2022-03-16T22:42:40.569" v="2471" actId="164"/>
          <ac:spMkLst>
            <pc:docMk/>
            <pc:sldMk cId="2367529978" sldId="2146846104"/>
            <ac:spMk id="40" creationId="{23DAAC81-4A3D-44E0-B37F-80D55820568E}"/>
          </ac:spMkLst>
        </pc:spChg>
        <pc:spChg chg="add mod">
          <ac:chgData name="Katerine Schifino" userId="37bb67de-9fcf-4611-888c-7e5b58184a2a" providerId="ADAL" clId="{FFC930EA-DB3B-4BF8-A71B-329AD02E46CE}" dt="2022-03-16T22:42:40.569" v="2471" actId="164"/>
          <ac:spMkLst>
            <pc:docMk/>
            <pc:sldMk cId="2367529978" sldId="2146846104"/>
            <ac:spMk id="41" creationId="{B5659BD7-1C2C-447C-AC45-8AC1F3767E48}"/>
          </ac:spMkLst>
        </pc:spChg>
        <pc:spChg chg="add mod">
          <ac:chgData name="Katerine Schifino" userId="37bb67de-9fcf-4611-888c-7e5b58184a2a" providerId="ADAL" clId="{FFC930EA-DB3B-4BF8-A71B-329AD02E46CE}" dt="2022-03-16T22:42:40.569" v="2471" actId="164"/>
          <ac:spMkLst>
            <pc:docMk/>
            <pc:sldMk cId="2367529978" sldId="2146846104"/>
            <ac:spMk id="42" creationId="{2F9652C3-5AB4-4579-81DB-F9040EEE4957}"/>
          </ac:spMkLst>
        </pc:spChg>
        <pc:spChg chg="add mod">
          <ac:chgData name="Katerine Schifino" userId="37bb67de-9fcf-4611-888c-7e5b58184a2a" providerId="ADAL" clId="{FFC930EA-DB3B-4BF8-A71B-329AD02E46CE}" dt="2022-03-16T22:42:40.569" v="2471" actId="164"/>
          <ac:spMkLst>
            <pc:docMk/>
            <pc:sldMk cId="2367529978" sldId="2146846104"/>
            <ac:spMk id="43" creationId="{8216E04F-408F-4C70-BDDE-E32240252A8D}"/>
          </ac:spMkLst>
        </pc:spChg>
        <pc:spChg chg="add mod">
          <ac:chgData name="Katerine Schifino" userId="37bb67de-9fcf-4611-888c-7e5b58184a2a" providerId="ADAL" clId="{FFC930EA-DB3B-4BF8-A71B-329AD02E46CE}" dt="2022-03-16T22:42:40.569" v="2471" actId="164"/>
          <ac:spMkLst>
            <pc:docMk/>
            <pc:sldMk cId="2367529978" sldId="2146846104"/>
            <ac:spMk id="44" creationId="{5B993871-DC36-45AD-AD77-916488C213CD}"/>
          </ac:spMkLst>
        </pc:spChg>
        <pc:spChg chg="add mod">
          <ac:chgData name="Katerine Schifino" userId="37bb67de-9fcf-4611-888c-7e5b58184a2a" providerId="ADAL" clId="{FFC930EA-DB3B-4BF8-A71B-329AD02E46CE}" dt="2022-03-16T22:42:40.569" v="2471" actId="164"/>
          <ac:spMkLst>
            <pc:docMk/>
            <pc:sldMk cId="2367529978" sldId="2146846104"/>
            <ac:spMk id="45" creationId="{06412CEB-8FA2-46AD-90B7-5E5F63F9468C}"/>
          </ac:spMkLst>
        </pc:spChg>
        <pc:spChg chg="add mod">
          <ac:chgData name="Katerine Schifino" userId="37bb67de-9fcf-4611-888c-7e5b58184a2a" providerId="ADAL" clId="{FFC930EA-DB3B-4BF8-A71B-329AD02E46CE}" dt="2022-03-16T22:42:40.569" v="2471" actId="164"/>
          <ac:spMkLst>
            <pc:docMk/>
            <pc:sldMk cId="2367529978" sldId="2146846104"/>
            <ac:spMk id="46" creationId="{5030D191-BACA-494F-8B6E-8AFD48AB9AE9}"/>
          </ac:spMkLst>
        </pc:spChg>
        <pc:spChg chg="add mod">
          <ac:chgData name="Katerine Schifino" userId="37bb67de-9fcf-4611-888c-7e5b58184a2a" providerId="ADAL" clId="{FFC930EA-DB3B-4BF8-A71B-329AD02E46CE}" dt="2022-03-16T22:42:40.569" v="2471" actId="164"/>
          <ac:spMkLst>
            <pc:docMk/>
            <pc:sldMk cId="2367529978" sldId="2146846104"/>
            <ac:spMk id="47" creationId="{B4179A8D-F4B6-445E-9808-C7E1ED35EAB3}"/>
          </ac:spMkLst>
        </pc:spChg>
        <pc:spChg chg="add mod">
          <ac:chgData name="Katerine Schifino" userId="37bb67de-9fcf-4611-888c-7e5b58184a2a" providerId="ADAL" clId="{FFC930EA-DB3B-4BF8-A71B-329AD02E46CE}" dt="2022-03-16T22:42:40.569" v="2471" actId="164"/>
          <ac:spMkLst>
            <pc:docMk/>
            <pc:sldMk cId="2367529978" sldId="2146846104"/>
            <ac:spMk id="48" creationId="{07B02A96-9255-45C9-91C9-E1979E87741B}"/>
          </ac:spMkLst>
        </pc:spChg>
        <pc:spChg chg="add mod">
          <ac:chgData name="Katerine Schifino" userId="37bb67de-9fcf-4611-888c-7e5b58184a2a" providerId="ADAL" clId="{FFC930EA-DB3B-4BF8-A71B-329AD02E46CE}" dt="2022-03-16T22:42:40.569" v="2471" actId="164"/>
          <ac:spMkLst>
            <pc:docMk/>
            <pc:sldMk cId="2367529978" sldId="2146846104"/>
            <ac:spMk id="49" creationId="{FB00FE5E-1D9D-4161-9518-B5CEF7942421}"/>
          </ac:spMkLst>
        </pc:spChg>
        <pc:spChg chg="add mod">
          <ac:chgData name="Katerine Schifino" userId="37bb67de-9fcf-4611-888c-7e5b58184a2a" providerId="ADAL" clId="{FFC930EA-DB3B-4BF8-A71B-329AD02E46CE}" dt="2022-03-16T22:42:40.569" v="2471" actId="164"/>
          <ac:spMkLst>
            <pc:docMk/>
            <pc:sldMk cId="2367529978" sldId="2146846104"/>
            <ac:spMk id="50" creationId="{2EE506AC-6F01-46A4-86EF-2CA8B79507E5}"/>
          </ac:spMkLst>
        </pc:spChg>
        <pc:spChg chg="add mod">
          <ac:chgData name="Katerine Schifino" userId="37bb67de-9fcf-4611-888c-7e5b58184a2a" providerId="ADAL" clId="{FFC930EA-DB3B-4BF8-A71B-329AD02E46CE}" dt="2022-03-16T22:42:40.569" v="2471" actId="164"/>
          <ac:spMkLst>
            <pc:docMk/>
            <pc:sldMk cId="2367529978" sldId="2146846104"/>
            <ac:spMk id="51" creationId="{1D9BBDEB-221C-4741-9979-C335EE48F38E}"/>
          </ac:spMkLst>
        </pc:spChg>
        <pc:spChg chg="add mod">
          <ac:chgData name="Katerine Schifino" userId="37bb67de-9fcf-4611-888c-7e5b58184a2a" providerId="ADAL" clId="{FFC930EA-DB3B-4BF8-A71B-329AD02E46CE}" dt="2022-03-16T22:40:37.119" v="2451" actId="1582"/>
          <ac:spMkLst>
            <pc:docMk/>
            <pc:sldMk cId="2367529978" sldId="2146846104"/>
            <ac:spMk id="53" creationId="{FC86F8BB-00FC-458C-AEE2-32F4E235C18C}"/>
          </ac:spMkLst>
        </pc:spChg>
        <pc:spChg chg="add mod ord">
          <ac:chgData name="Katerine Schifino" userId="37bb67de-9fcf-4611-888c-7e5b58184a2a" providerId="ADAL" clId="{FFC930EA-DB3B-4BF8-A71B-329AD02E46CE}" dt="2022-03-17T17:10:13.520" v="3200" actId="1076"/>
          <ac:spMkLst>
            <pc:docMk/>
            <pc:sldMk cId="2367529978" sldId="2146846104"/>
            <ac:spMk id="55" creationId="{693BE602-C9B4-412A-8447-FDCBB931768E}"/>
          </ac:spMkLst>
        </pc:spChg>
        <pc:grpChg chg="add mod">
          <ac:chgData name="Katerine Schifino" userId="37bb67de-9fcf-4611-888c-7e5b58184a2a" providerId="ADAL" clId="{FFC930EA-DB3B-4BF8-A71B-329AD02E46CE}" dt="2022-03-16T22:40:04.712" v="2445" actId="1076"/>
          <ac:grpSpMkLst>
            <pc:docMk/>
            <pc:sldMk cId="2367529978" sldId="2146846104"/>
            <ac:grpSpMk id="54" creationId="{C8CACEA6-0212-4EFD-B253-05AA389E4D94}"/>
          </ac:grpSpMkLst>
        </pc:grpChg>
        <pc:grpChg chg="add mod">
          <ac:chgData name="Katerine Schifino" userId="37bb67de-9fcf-4611-888c-7e5b58184a2a" providerId="ADAL" clId="{FFC930EA-DB3B-4BF8-A71B-329AD02E46CE}" dt="2022-03-16T22:42:40.569" v="2471" actId="164"/>
          <ac:grpSpMkLst>
            <pc:docMk/>
            <pc:sldMk cId="2367529978" sldId="2146846104"/>
            <ac:grpSpMk id="56" creationId="{28F61522-AC2E-485A-AF45-90E1FF06D661}"/>
          </ac:grpSpMkLst>
        </pc:grpChg>
        <pc:picChg chg="add mod ord">
          <ac:chgData name="Katerine Schifino" userId="37bb67de-9fcf-4611-888c-7e5b58184a2a" providerId="ADAL" clId="{FFC930EA-DB3B-4BF8-A71B-329AD02E46CE}" dt="2022-03-16T22:40:51.625" v="2453" actId="208"/>
          <ac:picMkLst>
            <pc:docMk/>
            <pc:sldMk cId="2367529978" sldId="2146846104"/>
            <ac:picMk id="52" creationId="{3484675A-C650-4B14-993E-C33B8F392B20}"/>
          </ac:picMkLst>
        </pc:picChg>
        <pc:picChg chg="add del mod">
          <ac:chgData name="Katerine Schifino" userId="37bb67de-9fcf-4611-888c-7e5b58184a2a" providerId="ADAL" clId="{FFC930EA-DB3B-4BF8-A71B-329AD02E46CE}" dt="2022-03-17T17:10:08.737" v="3198" actId="478"/>
          <ac:picMkLst>
            <pc:docMk/>
            <pc:sldMk cId="2367529978" sldId="2146846104"/>
            <ac:picMk id="4098" creationId="{9CEF2DFD-BA49-4A08-98AB-480A1BF31323}"/>
          </ac:picMkLst>
        </pc:picChg>
        <pc:cxnChg chg="add mod">
          <ac:chgData name="Katerine Schifino" userId="37bb67de-9fcf-4611-888c-7e5b58184a2a" providerId="ADAL" clId="{FFC930EA-DB3B-4BF8-A71B-329AD02E46CE}" dt="2022-03-16T22:42:40.569" v="2471" actId="164"/>
          <ac:cxnSpMkLst>
            <pc:docMk/>
            <pc:sldMk cId="2367529978" sldId="2146846104"/>
            <ac:cxnSpMk id="5" creationId="{ACEDF268-4996-47AC-95A1-EA61D6813161}"/>
          </ac:cxnSpMkLst>
        </pc:cxnChg>
        <pc:cxnChg chg="add mod">
          <ac:chgData name="Katerine Schifino" userId="37bb67de-9fcf-4611-888c-7e5b58184a2a" providerId="ADAL" clId="{FFC930EA-DB3B-4BF8-A71B-329AD02E46CE}" dt="2022-03-16T22:42:40.569" v="2471" actId="164"/>
          <ac:cxnSpMkLst>
            <pc:docMk/>
            <pc:sldMk cId="2367529978" sldId="2146846104"/>
            <ac:cxnSpMk id="15" creationId="{2B59B27D-9096-42AE-B478-2CFA7B8AD322}"/>
          </ac:cxnSpMkLst>
        </pc:cxnChg>
        <pc:cxnChg chg="add mod">
          <ac:chgData name="Katerine Schifino" userId="37bb67de-9fcf-4611-888c-7e5b58184a2a" providerId="ADAL" clId="{FFC930EA-DB3B-4BF8-A71B-329AD02E46CE}" dt="2022-03-16T22:42:40.569" v="2471" actId="164"/>
          <ac:cxnSpMkLst>
            <pc:docMk/>
            <pc:sldMk cId="2367529978" sldId="2146846104"/>
            <ac:cxnSpMk id="16" creationId="{753FC988-99A2-4060-9A3F-ABDDCB249FC2}"/>
          </ac:cxnSpMkLst>
        </pc:cxnChg>
      </pc:sldChg>
      <pc:sldChg chg="addSp delSp modSp add del mod modNotesTx">
        <pc:chgData name="Katerine Schifino" userId="37bb67de-9fcf-4611-888c-7e5b58184a2a" providerId="ADAL" clId="{FFC930EA-DB3B-4BF8-A71B-329AD02E46CE}" dt="2022-03-18T21:11:28.159" v="7448" actId="47"/>
        <pc:sldMkLst>
          <pc:docMk/>
          <pc:sldMk cId="1468592198" sldId="2146846105"/>
        </pc:sldMkLst>
        <pc:spChg chg="del">
          <ac:chgData name="Katerine Schifino" userId="37bb67de-9fcf-4611-888c-7e5b58184a2a" providerId="ADAL" clId="{FFC930EA-DB3B-4BF8-A71B-329AD02E46CE}" dt="2022-03-17T20:00:12.260" v="4558" actId="478"/>
          <ac:spMkLst>
            <pc:docMk/>
            <pc:sldMk cId="1468592198" sldId="2146846105"/>
            <ac:spMk id="4" creationId="{CD3B507D-B343-498F-97D5-78CBF4589AAB}"/>
          </ac:spMkLst>
        </pc:spChg>
        <pc:spChg chg="add mod">
          <ac:chgData name="Katerine Schifino" userId="37bb67de-9fcf-4611-888c-7e5b58184a2a" providerId="ADAL" clId="{FFC930EA-DB3B-4BF8-A71B-329AD02E46CE}" dt="2022-03-18T14:09:03.066" v="6233" actId="6549"/>
          <ac:spMkLst>
            <pc:docMk/>
            <pc:sldMk cId="1468592198" sldId="2146846105"/>
            <ac:spMk id="5" creationId="{9EDBD20C-0B84-4943-BD69-E6C88D054D63}"/>
          </ac:spMkLst>
        </pc:spChg>
        <pc:spChg chg="del mod">
          <ac:chgData name="Katerine Schifino" userId="37bb67de-9fcf-4611-888c-7e5b58184a2a" providerId="ADAL" clId="{FFC930EA-DB3B-4BF8-A71B-329AD02E46CE}" dt="2022-03-18T14:09:28.800" v="6241" actId="478"/>
          <ac:spMkLst>
            <pc:docMk/>
            <pc:sldMk cId="1468592198" sldId="2146846105"/>
            <ac:spMk id="6" creationId="{112348B3-0062-49E3-BCA2-B30B6A7D3857}"/>
          </ac:spMkLst>
        </pc:spChg>
        <pc:spChg chg="add mod">
          <ac:chgData name="Katerine Schifino" userId="37bb67de-9fcf-4611-888c-7e5b58184a2a" providerId="ADAL" clId="{FFC930EA-DB3B-4BF8-A71B-329AD02E46CE}" dt="2022-03-17T20:00:16.665" v="4559"/>
          <ac:spMkLst>
            <pc:docMk/>
            <pc:sldMk cId="1468592198" sldId="2146846105"/>
            <ac:spMk id="7" creationId="{764353E4-05DA-46BB-953D-A9B913E16425}"/>
          </ac:spMkLst>
        </pc:spChg>
        <pc:spChg chg="add mod">
          <ac:chgData name="Katerine Schifino" userId="37bb67de-9fcf-4611-888c-7e5b58184a2a" providerId="ADAL" clId="{FFC930EA-DB3B-4BF8-A71B-329AD02E46CE}" dt="2022-03-18T14:09:32.454" v="6242"/>
          <ac:spMkLst>
            <pc:docMk/>
            <pc:sldMk cId="1468592198" sldId="2146846105"/>
            <ac:spMk id="8" creationId="{3FDA7948-2F5A-4208-BA8B-40B68DC4FCE1}"/>
          </ac:spMkLst>
        </pc:spChg>
        <pc:picChg chg="add mod">
          <ac:chgData name="Katerine Schifino" userId="37bb67de-9fcf-4611-888c-7e5b58184a2a" providerId="ADAL" clId="{FFC930EA-DB3B-4BF8-A71B-329AD02E46CE}" dt="2022-03-18T14:09:05.370" v="6234" actId="1076"/>
          <ac:picMkLst>
            <pc:docMk/>
            <pc:sldMk cId="1468592198" sldId="2146846105"/>
            <ac:picMk id="1026" creationId="{60C57D08-DD19-418A-B5ED-A1A7CDF7FEBF}"/>
          </ac:picMkLst>
        </pc:picChg>
      </pc:sldChg>
      <pc:sldChg chg="delSp modSp add del mod">
        <pc:chgData name="Katerine Schifino" userId="37bb67de-9fcf-4611-888c-7e5b58184a2a" providerId="ADAL" clId="{FFC930EA-DB3B-4BF8-A71B-329AD02E46CE}" dt="2022-03-17T16:02:23.114" v="2699" actId="47"/>
        <pc:sldMkLst>
          <pc:docMk/>
          <pc:sldMk cId="3598984068" sldId="2146846106"/>
        </pc:sldMkLst>
        <pc:spChg chg="del mod">
          <ac:chgData name="Katerine Schifino" userId="37bb67de-9fcf-4611-888c-7e5b58184a2a" providerId="ADAL" clId="{FFC930EA-DB3B-4BF8-A71B-329AD02E46CE}" dt="2022-03-17T14:25:14.869" v="2551" actId="478"/>
          <ac:spMkLst>
            <pc:docMk/>
            <pc:sldMk cId="3598984068" sldId="2146846106"/>
            <ac:spMk id="5" creationId="{799AEABB-32F1-4492-ABE6-3E106E62886E}"/>
          </ac:spMkLst>
        </pc:spChg>
        <pc:spChg chg="mod">
          <ac:chgData name="Katerine Schifino" userId="37bb67de-9fcf-4611-888c-7e5b58184a2a" providerId="ADAL" clId="{FFC930EA-DB3B-4BF8-A71B-329AD02E46CE}" dt="2022-03-17T14:25:33.611" v="2600" actId="20577"/>
          <ac:spMkLst>
            <pc:docMk/>
            <pc:sldMk cId="3598984068" sldId="2146846106"/>
            <ac:spMk id="7" creationId="{ABB2D93D-2B36-4D95-AE4D-9FF6C87F4FDA}"/>
          </ac:spMkLst>
        </pc:spChg>
        <pc:picChg chg="del">
          <ac:chgData name="Katerine Schifino" userId="37bb67de-9fcf-4611-888c-7e5b58184a2a" providerId="ADAL" clId="{FFC930EA-DB3B-4BF8-A71B-329AD02E46CE}" dt="2022-03-17T14:25:11.712" v="2549" actId="478"/>
          <ac:picMkLst>
            <pc:docMk/>
            <pc:sldMk cId="3598984068" sldId="2146846106"/>
            <ac:picMk id="1026" creationId="{B71A90AF-5868-414C-A165-A6032D01C356}"/>
          </ac:picMkLst>
        </pc:picChg>
        <pc:picChg chg="mod">
          <ac:chgData name="Katerine Schifino" userId="37bb67de-9fcf-4611-888c-7e5b58184a2a" providerId="ADAL" clId="{FFC930EA-DB3B-4BF8-A71B-329AD02E46CE}" dt="2022-03-17T14:25:37.165" v="2601" actId="1076"/>
          <ac:picMkLst>
            <pc:docMk/>
            <pc:sldMk cId="3598984068" sldId="2146846106"/>
            <ac:picMk id="1028" creationId="{5A045692-8076-4E9E-8D43-65EB34294448}"/>
          </ac:picMkLst>
        </pc:picChg>
      </pc:sldChg>
      <pc:sldChg chg="addSp modSp add mod modNotesTx">
        <pc:chgData name="Katerine Schifino" userId="37bb67de-9fcf-4611-888c-7e5b58184a2a" providerId="ADAL" clId="{FFC930EA-DB3B-4BF8-A71B-329AD02E46CE}" dt="2022-03-18T13:36:50.402" v="5263" actId="20577"/>
        <pc:sldMkLst>
          <pc:docMk/>
          <pc:sldMk cId="3668654054" sldId="2146846107"/>
        </pc:sldMkLst>
        <pc:spChg chg="add mod">
          <ac:chgData name="Katerine Schifino" userId="37bb67de-9fcf-4611-888c-7e5b58184a2a" providerId="ADAL" clId="{FFC930EA-DB3B-4BF8-A71B-329AD02E46CE}" dt="2022-03-17T20:10:09.131" v="4644" actId="20577"/>
          <ac:spMkLst>
            <pc:docMk/>
            <pc:sldMk cId="3668654054" sldId="2146846107"/>
            <ac:spMk id="5" creationId="{AE35B8B5-CBDD-4C9A-902F-A9C417CE223E}"/>
          </ac:spMkLst>
        </pc:spChg>
        <pc:spChg chg="mod">
          <ac:chgData name="Katerine Schifino" userId="37bb67de-9fcf-4611-888c-7e5b58184a2a" providerId="ADAL" clId="{FFC930EA-DB3B-4BF8-A71B-329AD02E46CE}" dt="2022-03-18T13:21:42.709" v="4890" actId="20577"/>
          <ac:spMkLst>
            <pc:docMk/>
            <pc:sldMk cId="3668654054" sldId="2146846107"/>
            <ac:spMk id="7" creationId="{ABB2D93D-2B36-4D95-AE4D-9FF6C87F4FDA}"/>
          </ac:spMkLst>
        </pc:spChg>
        <pc:picChg chg="add mod">
          <ac:chgData name="Katerine Schifino" userId="37bb67de-9fcf-4611-888c-7e5b58184a2a" providerId="ADAL" clId="{FFC930EA-DB3B-4BF8-A71B-329AD02E46CE}" dt="2022-03-17T16:02:11.526" v="2698"/>
          <ac:picMkLst>
            <pc:docMk/>
            <pc:sldMk cId="3668654054" sldId="2146846107"/>
            <ac:picMk id="6" creationId="{739799F3-1ED9-4DBF-AD99-F604B451815E}"/>
          </ac:picMkLst>
        </pc:picChg>
        <pc:picChg chg="mod">
          <ac:chgData name="Katerine Schifino" userId="37bb67de-9fcf-4611-888c-7e5b58184a2a" providerId="ADAL" clId="{FFC930EA-DB3B-4BF8-A71B-329AD02E46CE}" dt="2022-03-17T16:02:03.753" v="2696" actId="1036"/>
          <ac:picMkLst>
            <pc:docMk/>
            <pc:sldMk cId="3668654054" sldId="2146846107"/>
            <ac:picMk id="1028" creationId="{5A045692-8076-4E9E-8D43-65EB34294448}"/>
          </ac:picMkLst>
        </pc:picChg>
      </pc:sldChg>
      <pc:sldChg chg="addSp delSp modSp add del mod modShow modNotesTx">
        <pc:chgData name="Katerine Schifino" userId="37bb67de-9fcf-4611-888c-7e5b58184a2a" providerId="ADAL" clId="{FFC930EA-DB3B-4BF8-A71B-329AD02E46CE}" dt="2022-03-18T21:11:24.843" v="7445" actId="47"/>
        <pc:sldMkLst>
          <pc:docMk/>
          <pc:sldMk cId="180394613" sldId="2146846108"/>
        </pc:sldMkLst>
        <pc:spChg chg="del">
          <ac:chgData name="Katerine Schifino" userId="37bb67de-9fcf-4611-888c-7e5b58184a2a" providerId="ADAL" clId="{FFC930EA-DB3B-4BF8-A71B-329AD02E46CE}" dt="2022-03-17T19:29:16.453" v="4127" actId="478"/>
          <ac:spMkLst>
            <pc:docMk/>
            <pc:sldMk cId="180394613" sldId="2146846108"/>
            <ac:spMk id="3" creationId="{F37952A8-26A7-4620-BB6E-749B2F7FE437}"/>
          </ac:spMkLst>
        </pc:spChg>
        <pc:spChg chg="mod">
          <ac:chgData name="Katerine Schifino" userId="37bb67de-9fcf-4611-888c-7e5b58184a2a" providerId="ADAL" clId="{FFC930EA-DB3B-4BF8-A71B-329AD02E46CE}" dt="2022-03-17T19:47:11.948" v="4214" actId="20577"/>
          <ac:spMkLst>
            <pc:docMk/>
            <pc:sldMk cId="180394613" sldId="2146846108"/>
            <ac:spMk id="4" creationId="{CD3B507D-B343-498F-97D5-78CBF4589AAB}"/>
          </ac:spMkLst>
        </pc:spChg>
        <pc:spChg chg="del">
          <ac:chgData name="Katerine Schifino" userId="37bb67de-9fcf-4611-888c-7e5b58184a2a" providerId="ADAL" clId="{FFC930EA-DB3B-4BF8-A71B-329AD02E46CE}" dt="2022-03-17T19:29:16.453" v="4127" actId="478"/>
          <ac:spMkLst>
            <pc:docMk/>
            <pc:sldMk cId="180394613" sldId="2146846108"/>
            <ac:spMk id="55" creationId="{693BE602-C9B4-412A-8447-FDCBB931768E}"/>
          </ac:spMkLst>
        </pc:spChg>
        <pc:spChg chg="add mod">
          <ac:chgData name="Katerine Schifino" userId="37bb67de-9fcf-4611-888c-7e5b58184a2a" providerId="ADAL" clId="{FFC930EA-DB3B-4BF8-A71B-329AD02E46CE}" dt="2022-03-17T19:58:09.949" v="4515" actId="20577"/>
          <ac:spMkLst>
            <pc:docMk/>
            <pc:sldMk cId="180394613" sldId="2146846108"/>
            <ac:spMk id="57" creationId="{BD1F0C49-F465-45F3-A15F-7C674A2D8D32}"/>
          </ac:spMkLst>
        </pc:spChg>
        <pc:spChg chg="add del mod">
          <ac:chgData name="Katerine Schifino" userId="37bb67de-9fcf-4611-888c-7e5b58184a2a" providerId="ADAL" clId="{FFC930EA-DB3B-4BF8-A71B-329AD02E46CE}" dt="2022-03-17T19:46:17.544" v="4164"/>
          <ac:spMkLst>
            <pc:docMk/>
            <pc:sldMk cId="180394613" sldId="2146846108"/>
            <ac:spMk id="58" creationId="{0C114598-C34B-4362-B8E3-5D00FAFE3554}"/>
          </ac:spMkLst>
        </pc:spChg>
        <pc:spChg chg="add del mod">
          <ac:chgData name="Katerine Schifino" userId="37bb67de-9fcf-4611-888c-7e5b58184a2a" providerId="ADAL" clId="{FFC930EA-DB3B-4BF8-A71B-329AD02E46CE}" dt="2022-03-17T19:48:39.664" v="4221"/>
          <ac:spMkLst>
            <pc:docMk/>
            <pc:sldMk cId="180394613" sldId="2146846108"/>
            <ac:spMk id="59" creationId="{376E9CBB-159F-435C-93BB-ACEBCB014231}"/>
          </ac:spMkLst>
        </pc:spChg>
        <pc:grpChg chg="del">
          <ac:chgData name="Katerine Schifino" userId="37bb67de-9fcf-4611-888c-7e5b58184a2a" providerId="ADAL" clId="{FFC930EA-DB3B-4BF8-A71B-329AD02E46CE}" dt="2022-03-17T19:29:16.453" v="4127" actId="478"/>
          <ac:grpSpMkLst>
            <pc:docMk/>
            <pc:sldMk cId="180394613" sldId="2146846108"/>
            <ac:grpSpMk id="54" creationId="{C8CACEA6-0212-4EFD-B253-05AA389E4D94}"/>
          </ac:grpSpMkLst>
        </pc:grpChg>
        <pc:grpChg chg="del">
          <ac:chgData name="Katerine Schifino" userId="37bb67de-9fcf-4611-888c-7e5b58184a2a" providerId="ADAL" clId="{FFC930EA-DB3B-4BF8-A71B-329AD02E46CE}" dt="2022-03-17T19:29:16.453" v="4127" actId="478"/>
          <ac:grpSpMkLst>
            <pc:docMk/>
            <pc:sldMk cId="180394613" sldId="2146846108"/>
            <ac:grpSpMk id="56" creationId="{28F61522-AC2E-485A-AF45-90E1FF06D661}"/>
          </ac:grpSpMkLst>
        </pc:grpChg>
      </pc:sldChg>
      <pc:sldChg chg="addSp delSp modSp add del mod modShow modNotesTx">
        <pc:chgData name="Katerine Schifino" userId="37bb67de-9fcf-4611-888c-7e5b58184a2a" providerId="ADAL" clId="{FFC930EA-DB3B-4BF8-A71B-329AD02E46CE}" dt="2022-03-18T21:11:25.595" v="7446" actId="47"/>
        <pc:sldMkLst>
          <pc:docMk/>
          <pc:sldMk cId="2030110827" sldId="2146846109"/>
        </pc:sldMkLst>
        <pc:spChg chg="del">
          <ac:chgData name="Katerine Schifino" userId="37bb67de-9fcf-4611-888c-7e5b58184a2a" providerId="ADAL" clId="{FFC930EA-DB3B-4BF8-A71B-329AD02E46CE}" dt="2022-03-17T19:47:27.591" v="4215" actId="478"/>
          <ac:spMkLst>
            <pc:docMk/>
            <pc:sldMk cId="2030110827" sldId="2146846109"/>
            <ac:spMk id="4" creationId="{CD3B507D-B343-498F-97D5-78CBF4589AAB}"/>
          </ac:spMkLst>
        </pc:spChg>
        <pc:spChg chg="add mod">
          <ac:chgData name="Katerine Schifino" userId="37bb67de-9fcf-4611-888c-7e5b58184a2a" providerId="ADAL" clId="{FFC930EA-DB3B-4BF8-A71B-329AD02E46CE}" dt="2022-03-17T19:47:28.208" v="4216"/>
          <ac:spMkLst>
            <pc:docMk/>
            <pc:sldMk cId="2030110827" sldId="2146846109"/>
            <ac:spMk id="5" creationId="{FC4B360A-636B-4037-97C1-D5CF67BAE728}"/>
          </ac:spMkLst>
        </pc:spChg>
        <pc:spChg chg="mod">
          <ac:chgData name="Katerine Schifino" userId="37bb67de-9fcf-4611-888c-7e5b58184a2a" providerId="ADAL" clId="{FFC930EA-DB3B-4BF8-A71B-329AD02E46CE}" dt="2022-03-17T19:55:27.999" v="4398" actId="21"/>
          <ac:spMkLst>
            <pc:docMk/>
            <pc:sldMk cId="2030110827" sldId="2146846109"/>
            <ac:spMk id="57" creationId="{BD1F0C49-F465-45F3-A15F-7C674A2D8D32}"/>
          </ac:spMkLst>
        </pc:spChg>
        <pc:spChg chg="del">
          <ac:chgData name="Katerine Schifino" userId="37bb67de-9fcf-4611-888c-7e5b58184a2a" providerId="ADAL" clId="{FFC930EA-DB3B-4BF8-A71B-329AD02E46CE}" dt="2022-03-17T19:46:24.515" v="4165" actId="478"/>
          <ac:spMkLst>
            <pc:docMk/>
            <pc:sldMk cId="2030110827" sldId="2146846109"/>
            <ac:spMk id="58" creationId="{0C114598-C34B-4362-B8E3-5D00FAFE3554}"/>
          </ac:spMkLst>
        </pc:spChg>
      </pc:sldChg>
      <pc:sldChg chg="addSp delSp modSp add mod modNotesTx">
        <pc:chgData name="Katerine Schifino" userId="37bb67de-9fcf-4611-888c-7e5b58184a2a" providerId="ADAL" clId="{FFC930EA-DB3B-4BF8-A71B-329AD02E46CE}" dt="2022-03-18T13:37:10.674" v="5265" actId="20577"/>
        <pc:sldMkLst>
          <pc:docMk/>
          <pc:sldMk cId="1006897491" sldId="2146846110"/>
        </pc:sldMkLst>
        <pc:spChg chg="mod">
          <ac:chgData name="Katerine Schifino" userId="37bb67de-9fcf-4611-888c-7e5b58184a2a" providerId="ADAL" clId="{FFC930EA-DB3B-4BF8-A71B-329AD02E46CE}" dt="2022-03-17T22:08:06.863" v="4737" actId="20577"/>
          <ac:spMkLst>
            <pc:docMk/>
            <pc:sldMk cId="1006897491" sldId="2146846110"/>
            <ac:spMk id="3" creationId="{D27D7BD4-79A4-4F74-AEDD-B6DF3D38FA7F}"/>
          </ac:spMkLst>
        </pc:spChg>
        <pc:spChg chg="del">
          <ac:chgData name="Katerine Schifino" userId="37bb67de-9fcf-4611-888c-7e5b58184a2a" providerId="ADAL" clId="{FFC930EA-DB3B-4BF8-A71B-329AD02E46CE}" dt="2022-03-17T22:07:38.684" v="4688" actId="478"/>
          <ac:spMkLst>
            <pc:docMk/>
            <pc:sldMk cId="1006897491" sldId="2146846110"/>
            <ac:spMk id="12" creationId="{A7B3DCC7-A365-463C-87BC-C3DC0D51DA37}"/>
          </ac:spMkLst>
        </pc:spChg>
        <pc:spChg chg="del">
          <ac:chgData name="Katerine Schifino" userId="37bb67de-9fcf-4611-888c-7e5b58184a2a" providerId="ADAL" clId="{FFC930EA-DB3B-4BF8-A71B-329AD02E46CE}" dt="2022-03-17T22:07:38.684" v="4688" actId="478"/>
          <ac:spMkLst>
            <pc:docMk/>
            <pc:sldMk cId="1006897491" sldId="2146846110"/>
            <ac:spMk id="14" creationId="{2B09DDE2-EDBD-4560-ABD8-E958800C1507}"/>
          </ac:spMkLst>
        </pc:spChg>
        <pc:spChg chg="del">
          <ac:chgData name="Katerine Schifino" userId="37bb67de-9fcf-4611-888c-7e5b58184a2a" providerId="ADAL" clId="{FFC930EA-DB3B-4BF8-A71B-329AD02E46CE}" dt="2022-03-17T22:07:38.684" v="4688" actId="478"/>
          <ac:spMkLst>
            <pc:docMk/>
            <pc:sldMk cId="1006897491" sldId="2146846110"/>
            <ac:spMk id="16" creationId="{9096FC7C-1A83-48BF-8A2F-0A8B74697F48}"/>
          </ac:spMkLst>
        </pc:spChg>
        <pc:spChg chg="add mod">
          <ac:chgData name="Katerine Schifino" userId="37bb67de-9fcf-4611-888c-7e5b58184a2a" providerId="ADAL" clId="{FFC930EA-DB3B-4BF8-A71B-329AD02E46CE}" dt="2022-03-18T13:34:14.586" v="5231" actId="20577"/>
          <ac:spMkLst>
            <pc:docMk/>
            <pc:sldMk cId="1006897491" sldId="2146846110"/>
            <ac:spMk id="17" creationId="{E7A80F3A-F3AA-4C42-831A-9C90FBFE5B40}"/>
          </ac:spMkLst>
        </pc:spChg>
        <pc:spChg chg="mod">
          <ac:chgData name="Katerine Schifino" userId="37bb67de-9fcf-4611-888c-7e5b58184a2a" providerId="ADAL" clId="{FFC930EA-DB3B-4BF8-A71B-329AD02E46CE}" dt="2022-03-18T13:33:48.562" v="5215" actId="20577"/>
          <ac:spMkLst>
            <pc:docMk/>
            <pc:sldMk cId="1006897491" sldId="2146846110"/>
            <ac:spMk id="23" creationId="{3E3AA026-E6FD-47DA-896B-B5B391EF8C22}"/>
          </ac:spMkLst>
        </pc:spChg>
        <pc:grpChg chg="del">
          <ac:chgData name="Katerine Schifino" userId="37bb67de-9fcf-4611-888c-7e5b58184a2a" providerId="ADAL" clId="{FFC930EA-DB3B-4BF8-A71B-329AD02E46CE}" dt="2022-03-17T22:07:38.684" v="4688" actId="478"/>
          <ac:grpSpMkLst>
            <pc:docMk/>
            <pc:sldMk cId="1006897491" sldId="2146846110"/>
            <ac:grpSpMk id="19" creationId="{A937DFF5-06AD-45D2-B3C2-E7E46519FF6B}"/>
          </ac:grpSpMkLst>
        </pc:grpChg>
        <pc:picChg chg="add del">
          <ac:chgData name="Katerine Schifino" userId="37bb67de-9fcf-4611-888c-7e5b58184a2a" providerId="ADAL" clId="{FFC930EA-DB3B-4BF8-A71B-329AD02E46CE}" dt="2022-03-17T22:11:37.272" v="4746" actId="478"/>
          <ac:picMkLst>
            <pc:docMk/>
            <pc:sldMk cId="1006897491" sldId="2146846110"/>
            <ac:picMk id="2050" creationId="{E6BC4964-860D-4E38-84EC-38B5867F5DCA}"/>
          </ac:picMkLst>
        </pc:picChg>
        <pc:picChg chg="add mod">
          <ac:chgData name="Katerine Schifino" userId="37bb67de-9fcf-4611-888c-7e5b58184a2a" providerId="ADAL" clId="{FFC930EA-DB3B-4BF8-A71B-329AD02E46CE}" dt="2022-03-17T22:17:59.368" v="4825" actId="1076"/>
          <ac:picMkLst>
            <pc:docMk/>
            <pc:sldMk cId="1006897491" sldId="2146846110"/>
            <ac:picMk id="2052" creationId="{C574E0B1-3FCA-4109-9783-89F43AF42A8F}"/>
          </ac:picMkLst>
        </pc:picChg>
        <pc:picChg chg="add mod">
          <ac:chgData name="Katerine Schifino" userId="37bb67de-9fcf-4611-888c-7e5b58184a2a" providerId="ADAL" clId="{FFC930EA-DB3B-4BF8-A71B-329AD02E46CE}" dt="2022-03-17T22:13:32.738" v="4766" actId="1076"/>
          <ac:picMkLst>
            <pc:docMk/>
            <pc:sldMk cId="1006897491" sldId="2146846110"/>
            <ac:picMk id="2054" creationId="{A0057C0A-B207-4829-BCF2-B4897ED0461F}"/>
          </ac:picMkLst>
        </pc:picChg>
        <pc:cxnChg chg="del">
          <ac:chgData name="Katerine Schifino" userId="37bb67de-9fcf-4611-888c-7e5b58184a2a" providerId="ADAL" clId="{FFC930EA-DB3B-4BF8-A71B-329AD02E46CE}" dt="2022-03-17T22:07:40.538" v="4689" actId="478"/>
          <ac:cxnSpMkLst>
            <pc:docMk/>
            <pc:sldMk cId="1006897491" sldId="2146846110"/>
            <ac:cxnSpMk id="15" creationId="{655B89E9-81B0-4E6F-963E-5AD968833B55}"/>
          </ac:cxnSpMkLst>
        </pc:cxnChg>
      </pc:sldChg>
      <pc:sldChg chg="addSp delSp modSp add mod ord modNotesTx">
        <pc:chgData name="Katerine Schifino" userId="37bb67de-9fcf-4611-888c-7e5b58184a2a" providerId="ADAL" clId="{FFC930EA-DB3B-4BF8-A71B-329AD02E46CE}" dt="2022-03-18T16:02:52.202" v="7321" actId="1076"/>
        <pc:sldMkLst>
          <pc:docMk/>
          <pc:sldMk cId="3104619810" sldId="2146846111"/>
        </pc:sldMkLst>
        <pc:spChg chg="del">
          <ac:chgData name="Katerine Schifino" userId="37bb67de-9fcf-4611-888c-7e5b58184a2a" providerId="ADAL" clId="{FFC930EA-DB3B-4BF8-A71B-329AD02E46CE}" dt="2022-03-18T13:25:27.888" v="5000" actId="478"/>
          <ac:spMkLst>
            <pc:docMk/>
            <pc:sldMk cId="3104619810" sldId="2146846111"/>
            <ac:spMk id="2" creationId="{3B49E5B8-19E9-4422-A267-22E191D3C958}"/>
          </ac:spMkLst>
        </pc:spChg>
        <pc:spChg chg="mod">
          <ac:chgData name="Katerine Schifino" userId="37bb67de-9fcf-4611-888c-7e5b58184a2a" providerId="ADAL" clId="{FFC930EA-DB3B-4BF8-A71B-329AD02E46CE}" dt="2022-03-18T16:02:52.202" v="7321" actId="1076"/>
          <ac:spMkLst>
            <pc:docMk/>
            <pc:sldMk cId="3104619810" sldId="2146846111"/>
            <ac:spMk id="3" creationId="{D27D7BD4-79A4-4F74-AEDD-B6DF3D38FA7F}"/>
          </ac:spMkLst>
        </pc:spChg>
        <pc:spChg chg="del">
          <ac:chgData name="Katerine Schifino" userId="37bb67de-9fcf-4611-888c-7e5b58184a2a" providerId="ADAL" clId="{FFC930EA-DB3B-4BF8-A71B-329AD02E46CE}" dt="2022-03-18T13:25:31.447" v="5001" actId="478"/>
          <ac:spMkLst>
            <pc:docMk/>
            <pc:sldMk cId="3104619810" sldId="2146846111"/>
            <ac:spMk id="12" creationId="{A7B3DCC7-A365-463C-87BC-C3DC0D51DA37}"/>
          </ac:spMkLst>
        </pc:spChg>
        <pc:spChg chg="add del mod">
          <ac:chgData name="Katerine Schifino" userId="37bb67de-9fcf-4611-888c-7e5b58184a2a" providerId="ADAL" clId="{FFC930EA-DB3B-4BF8-A71B-329AD02E46CE}" dt="2022-03-18T13:27:01.060" v="5015" actId="6549"/>
          <ac:spMkLst>
            <pc:docMk/>
            <pc:sldMk cId="3104619810" sldId="2146846111"/>
            <ac:spMk id="13" creationId="{65FF6500-2F4A-4E98-B8F8-78BD49B45955}"/>
          </ac:spMkLst>
        </pc:spChg>
        <pc:spChg chg="del">
          <ac:chgData name="Katerine Schifino" userId="37bb67de-9fcf-4611-888c-7e5b58184a2a" providerId="ADAL" clId="{FFC930EA-DB3B-4BF8-A71B-329AD02E46CE}" dt="2022-03-18T13:25:34.607" v="5003" actId="478"/>
          <ac:spMkLst>
            <pc:docMk/>
            <pc:sldMk cId="3104619810" sldId="2146846111"/>
            <ac:spMk id="14" creationId="{2B09DDE2-EDBD-4560-ABD8-E958800C1507}"/>
          </ac:spMkLst>
        </pc:spChg>
        <pc:spChg chg="del">
          <ac:chgData name="Katerine Schifino" userId="37bb67de-9fcf-4611-888c-7e5b58184a2a" providerId="ADAL" clId="{FFC930EA-DB3B-4BF8-A71B-329AD02E46CE}" dt="2022-03-18T13:25:34.607" v="5003" actId="478"/>
          <ac:spMkLst>
            <pc:docMk/>
            <pc:sldMk cId="3104619810" sldId="2146846111"/>
            <ac:spMk id="16" creationId="{9096FC7C-1A83-48BF-8A2F-0A8B74697F48}"/>
          </ac:spMkLst>
        </pc:spChg>
        <pc:spChg chg="add mod">
          <ac:chgData name="Katerine Schifino" userId="37bb67de-9fcf-4611-888c-7e5b58184a2a" providerId="ADAL" clId="{FFC930EA-DB3B-4BF8-A71B-329AD02E46CE}" dt="2022-03-18T13:28:27.935" v="5039" actId="12"/>
          <ac:spMkLst>
            <pc:docMk/>
            <pc:sldMk cId="3104619810" sldId="2146846111"/>
            <ac:spMk id="17" creationId="{C0A68A23-4353-436C-B5F1-97007446E1C6}"/>
          </ac:spMkLst>
        </pc:spChg>
        <pc:spChg chg="add mod">
          <ac:chgData name="Katerine Schifino" userId="37bb67de-9fcf-4611-888c-7e5b58184a2a" providerId="ADAL" clId="{FFC930EA-DB3B-4BF8-A71B-329AD02E46CE}" dt="2022-03-18T13:31:04.870" v="5078" actId="20577"/>
          <ac:spMkLst>
            <pc:docMk/>
            <pc:sldMk cId="3104619810" sldId="2146846111"/>
            <ac:spMk id="18" creationId="{E32777B3-4002-4637-ABA5-F97CE5D71774}"/>
          </ac:spMkLst>
        </pc:spChg>
        <pc:grpChg chg="del">
          <ac:chgData name="Katerine Schifino" userId="37bb67de-9fcf-4611-888c-7e5b58184a2a" providerId="ADAL" clId="{FFC930EA-DB3B-4BF8-A71B-329AD02E46CE}" dt="2022-03-18T13:25:32.868" v="5002" actId="478"/>
          <ac:grpSpMkLst>
            <pc:docMk/>
            <pc:sldMk cId="3104619810" sldId="2146846111"/>
            <ac:grpSpMk id="19" creationId="{A937DFF5-06AD-45D2-B3C2-E7E46519FF6B}"/>
          </ac:grpSpMkLst>
        </pc:grpChg>
        <pc:cxnChg chg="del">
          <ac:chgData name="Katerine Schifino" userId="37bb67de-9fcf-4611-888c-7e5b58184a2a" providerId="ADAL" clId="{FFC930EA-DB3B-4BF8-A71B-329AD02E46CE}" dt="2022-03-18T13:25:34.607" v="5003" actId="478"/>
          <ac:cxnSpMkLst>
            <pc:docMk/>
            <pc:sldMk cId="3104619810" sldId="2146846111"/>
            <ac:cxnSpMk id="15" creationId="{655B89E9-81B0-4E6F-963E-5AD968833B55}"/>
          </ac:cxnSpMkLst>
        </pc:cxnChg>
      </pc:sldChg>
      <pc:sldChg chg="modSp add del mod">
        <pc:chgData name="Katerine Schifino" userId="37bb67de-9fcf-4611-888c-7e5b58184a2a" providerId="ADAL" clId="{FFC930EA-DB3B-4BF8-A71B-329AD02E46CE}" dt="2022-03-18T21:11:27.611" v="7447" actId="47"/>
        <pc:sldMkLst>
          <pc:docMk/>
          <pc:sldMk cId="1307543664" sldId="2146846112"/>
        </pc:sldMkLst>
        <pc:spChg chg="mod">
          <ac:chgData name="Katerine Schifino" userId="37bb67de-9fcf-4611-888c-7e5b58184a2a" providerId="ADAL" clId="{FFC930EA-DB3B-4BF8-A71B-329AD02E46CE}" dt="2022-03-18T14:07:32.162" v="6207" actId="20577"/>
          <ac:spMkLst>
            <pc:docMk/>
            <pc:sldMk cId="1307543664" sldId="2146846112"/>
            <ac:spMk id="6" creationId="{112348B3-0062-49E3-BCA2-B30B6A7D3857}"/>
          </ac:spMkLst>
        </pc:spChg>
        <pc:picChg chg="mod">
          <ac:chgData name="Katerine Schifino" userId="37bb67de-9fcf-4611-888c-7e5b58184a2a" providerId="ADAL" clId="{FFC930EA-DB3B-4BF8-A71B-329AD02E46CE}" dt="2022-03-18T14:01:07.700" v="6100" actId="1076"/>
          <ac:picMkLst>
            <pc:docMk/>
            <pc:sldMk cId="1307543664" sldId="2146846112"/>
            <ac:picMk id="5124" creationId="{3AF1774A-4826-4DB3-A8CA-AAEA509EEBC6}"/>
          </ac:picMkLst>
        </pc:picChg>
      </pc:sldChg>
      <pc:sldChg chg="addSp delSp modSp add mod">
        <pc:chgData name="Katerine Schifino" userId="37bb67de-9fcf-4611-888c-7e5b58184a2a" providerId="ADAL" clId="{FFC930EA-DB3B-4BF8-A71B-329AD02E46CE}" dt="2022-03-18T16:22:53.593" v="7362" actId="20577"/>
        <pc:sldMkLst>
          <pc:docMk/>
          <pc:sldMk cId="2291766909" sldId="2146846113"/>
        </pc:sldMkLst>
        <pc:spChg chg="mod">
          <ac:chgData name="Katerine Schifino" userId="37bb67de-9fcf-4611-888c-7e5b58184a2a" providerId="ADAL" clId="{FFC930EA-DB3B-4BF8-A71B-329AD02E46CE}" dt="2022-03-18T16:22:53.593" v="7362" actId="20577"/>
          <ac:spMkLst>
            <pc:docMk/>
            <pc:sldMk cId="2291766909" sldId="2146846113"/>
            <ac:spMk id="3" creationId="{D27D7BD4-79A4-4F74-AEDD-B6DF3D38FA7F}"/>
          </ac:spMkLst>
        </pc:spChg>
        <pc:spChg chg="add mod">
          <ac:chgData name="Katerine Schifino" userId="37bb67de-9fcf-4611-888c-7e5b58184a2a" providerId="ADAL" clId="{FFC930EA-DB3B-4BF8-A71B-329AD02E46CE}" dt="2022-03-18T15:53:35.399" v="7255" actId="113"/>
          <ac:spMkLst>
            <pc:docMk/>
            <pc:sldMk cId="2291766909" sldId="2146846113"/>
            <ac:spMk id="8" creationId="{4571B095-B57F-4AD7-B77C-8D251FA0B17B}"/>
          </ac:spMkLst>
        </pc:spChg>
        <pc:spChg chg="add mod">
          <ac:chgData name="Katerine Schifino" userId="37bb67de-9fcf-4611-888c-7e5b58184a2a" providerId="ADAL" clId="{FFC930EA-DB3B-4BF8-A71B-329AD02E46CE}" dt="2022-03-18T15:45:06.415" v="6750" actId="20577"/>
          <ac:spMkLst>
            <pc:docMk/>
            <pc:sldMk cId="2291766909" sldId="2146846113"/>
            <ac:spMk id="9" creationId="{BB91843F-979B-4B4B-82FF-594F362F82CF}"/>
          </ac:spMkLst>
        </pc:spChg>
        <pc:spChg chg="del">
          <ac:chgData name="Katerine Schifino" userId="37bb67de-9fcf-4611-888c-7e5b58184a2a" providerId="ADAL" clId="{FFC930EA-DB3B-4BF8-A71B-329AD02E46CE}" dt="2022-03-18T15:39:39.807" v="6245" actId="478"/>
          <ac:spMkLst>
            <pc:docMk/>
            <pc:sldMk cId="2291766909" sldId="2146846113"/>
            <ac:spMk id="17" creationId="{E7A80F3A-F3AA-4C42-831A-9C90FBFE5B40}"/>
          </ac:spMkLst>
        </pc:spChg>
        <pc:spChg chg="del">
          <ac:chgData name="Katerine Schifino" userId="37bb67de-9fcf-4611-888c-7e5b58184a2a" providerId="ADAL" clId="{FFC930EA-DB3B-4BF8-A71B-329AD02E46CE}" dt="2022-03-18T15:39:39.807" v="6245" actId="478"/>
          <ac:spMkLst>
            <pc:docMk/>
            <pc:sldMk cId="2291766909" sldId="2146846113"/>
            <ac:spMk id="23" creationId="{3E3AA026-E6FD-47DA-896B-B5B391EF8C22}"/>
          </ac:spMkLst>
        </pc:spChg>
        <pc:graphicFrameChg chg="add mod modGraphic">
          <ac:chgData name="Katerine Schifino" userId="37bb67de-9fcf-4611-888c-7e5b58184a2a" providerId="ADAL" clId="{FFC930EA-DB3B-4BF8-A71B-329AD02E46CE}" dt="2022-03-18T15:44:31.515" v="6671" actId="1076"/>
          <ac:graphicFrameMkLst>
            <pc:docMk/>
            <pc:sldMk cId="2291766909" sldId="2146846113"/>
            <ac:graphicFrameMk id="2" creationId="{F81D94DD-05EC-46FE-B95A-7297376937D7}"/>
          </ac:graphicFrameMkLst>
        </pc:graphicFrameChg>
        <pc:picChg chg="add mod">
          <ac:chgData name="Katerine Schifino" userId="37bb67de-9fcf-4611-888c-7e5b58184a2a" providerId="ADAL" clId="{FFC930EA-DB3B-4BF8-A71B-329AD02E46CE}" dt="2022-03-18T15:53:25.298" v="7254" actId="1076"/>
          <ac:picMkLst>
            <pc:docMk/>
            <pc:sldMk cId="2291766909" sldId="2146846113"/>
            <ac:picMk id="5" creationId="{9698626C-8FFB-4190-B846-F3432A900F6E}"/>
          </ac:picMkLst>
        </pc:picChg>
        <pc:picChg chg="del">
          <ac:chgData name="Katerine Schifino" userId="37bb67de-9fcf-4611-888c-7e5b58184a2a" providerId="ADAL" clId="{FFC930EA-DB3B-4BF8-A71B-329AD02E46CE}" dt="2022-03-18T15:39:39.807" v="6245" actId="478"/>
          <ac:picMkLst>
            <pc:docMk/>
            <pc:sldMk cId="2291766909" sldId="2146846113"/>
            <ac:picMk id="2052" creationId="{C574E0B1-3FCA-4109-9783-89F43AF42A8F}"/>
          </ac:picMkLst>
        </pc:picChg>
        <pc:picChg chg="del">
          <ac:chgData name="Katerine Schifino" userId="37bb67de-9fcf-4611-888c-7e5b58184a2a" providerId="ADAL" clId="{FFC930EA-DB3B-4BF8-A71B-329AD02E46CE}" dt="2022-03-18T15:39:39.807" v="6245" actId="478"/>
          <ac:picMkLst>
            <pc:docMk/>
            <pc:sldMk cId="2291766909" sldId="2146846113"/>
            <ac:picMk id="2054" creationId="{A0057C0A-B207-4829-BCF2-B4897ED0461F}"/>
          </ac:picMkLst>
        </pc:picChg>
      </pc:sldChg>
      <pc:sldChg chg="addSp delSp modSp add mod">
        <pc:chgData name="Katerine Schifino" userId="37bb67de-9fcf-4611-888c-7e5b58184a2a" providerId="ADAL" clId="{FFC930EA-DB3B-4BF8-A71B-329AD02E46CE}" dt="2022-03-18T16:26:29.600" v="7440" actId="20577"/>
        <pc:sldMkLst>
          <pc:docMk/>
          <pc:sldMk cId="79006163" sldId="2146846114"/>
        </pc:sldMkLst>
        <pc:spChg chg="del mod">
          <ac:chgData name="Katerine Schifino" userId="37bb67de-9fcf-4611-888c-7e5b58184a2a" providerId="ADAL" clId="{FFC930EA-DB3B-4BF8-A71B-329AD02E46CE}" dt="2022-03-18T15:58:31.979" v="7282" actId="478"/>
          <ac:spMkLst>
            <pc:docMk/>
            <pc:sldMk cId="79006163" sldId="2146846114"/>
            <ac:spMk id="3" creationId="{D27D7BD4-79A4-4F74-AEDD-B6DF3D38FA7F}"/>
          </ac:spMkLst>
        </pc:spChg>
        <pc:spChg chg="mod">
          <ac:chgData name="Katerine Schifino" userId="37bb67de-9fcf-4611-888c-7e5b58184a2a" providerId="ADAL" clId="{FFC930EA-DB3B-4BF8-A71B-329AD02E46CE}" dt="2022-03-18T16:26:29.600" v="7440" actId="20577"/>
          <ac:spMkLst>
            <pc:docMk/>
            <pc:sldMk cId="79006163" sldId="2146846114"/>
            <ac:spMk id="8" creationId="{4571B095-B57F-4AD7-B77C-8D251FA0B17B}"/>
          </ac:spMkLst>
        </pc:spChg>
        <pc:spChg chg="del mod">
          <ac:chgData name="Katerine Schifino" userId="37bb67de-9fcf-4611-888c-7e5b58184a2a" providerId="ADAL" clId="{FFC930EA-DB3B-4BF8-A71B-329AD02E46CE}" dt="2022-03-18T15:58:19.542" v="7278" actId="478"/>
          <ac:spMkLst>
            <pc:docMk/>
            <pc:sldMk cId="79006163" sldId="2146846114"/>
            <ac:spMk id="9" creationId="{BB91843F-979B-4B4B-82FF-594F362F82CF}"/>
          </ac:spMkLst>
        </pc:spChg>
        <pc:spChg chg="mod">
          <ac:chgData name="Katerine Schifino" userId="37bb67de-9fcf-4611-888c-7e5b58184a2a" providerId="ADAL" clId="{FFC930EA-DB3B-4BF8-A71B-329AD02E46CE}" dt="2022-03-18T16:00:02.824" v="7292" actId="1076"/>
          <ac:spMkLst>
            <pc:docMk/>
            <pc:sldMk cId="79006163" sldId="2146846114"/>
            <ac:spMk id="10" creationId="{957A3328-D5CF-4192-819E-740C58E3C3FD}"/>
          </ac:spMkLst>
        </pc:spChg>
        <pc:spChg chg="mod">
          <ac:chgData name="Katerine Schifino" userId="37bb67de-9fcf-4611-888c-7e5b58184a2a" providerId="ADAL" clId="{FFC930EA-DB3B-4BF8-A71B-329AD02E46CE}" dt="2022-03-18T16:00:02.824" v="7292" actId="1076"/>
          <ac:spMkLst>
            <pc:docMk/>
            <pc:sldMk cId="79006163" sldId="2146846114"/>
            <ac:spMk id="13" creationId="{30E997D5-0D5B-48F6-B764-C8CBC26FC47A}"/>
          </ac:spMkLst>
        </pc:spChg>
        <pc:spChg chg="mod">
          <ac:chgData name="Katerine Schifino" userId="37bb67de-9fcf-4611-888c-7e5b58184a2a" providerId="ADAL" clId="{FFC930EA-DB3B-4BF8-A71B-329AD02E46CE}" dt="2022-03-18T16:00:02.824" v="7292" actId="1076"/>
          <ac:spMkLst>
            <pc:docMk/>
            <pc:sldMk cId="79006163" sldId="2146846114"/>
            <ac:spMk id="14" creationId="{359DFC96-4FA2-4481-B85B-9DBAAE735FAB}"/>
          </ac:spMkLst>
        </pc:spChg>
        <pc:spChg chg="add del mod">
          <ac:chgData name="Katerine Schifino" userId="37bb67de-9fcf-4611-888c-7e5b58184a2a" providerId="ADAL" clId="{FFC930EA-DB3B-4BF8-A71B-329AD02E46CE}" dt="2022-03-18T16:23:01.596" v="7364" actId="478"/>
          <ac:spMkLst>
            <pc:docMk/>
            <pc:sldMk cId="79006163" sldId="2146846114"/>
            <ac:spMk id="15" creationId="{7DFECF8A-EECF-4C7C-89AB-71BE42D98D31}"/>
          </ac:spMkLst>
        </pc:spChg>
        <pc:spChg chg="add mod">
          <ac:chgData name="Katerine Schifino" userId="37bb67de-9fcf-4611-888c-7e5b58184a2a" providerId="ADAL" clId="{FFC930EA-DB3B-4BF8-A71B-329AD02E46CE}" dt="2022-03-18T16:23:01.949" v="7365"/>
          <ac:spMkLst>
            <pc:docMk/>
            <pc:sldMk cId="79006163" sldId="2146846114"/>
            <ac:spMk id="16" creationId="{DBC6D4DA-83F0-4654-AA88-1B1ADFF3B524}"/>
          </ac:spMkLst>
        </pc:spChg>
        <pc:grpChg chg="add mod">
          <ac:chgData name="Katerine Schifino" userId="37bb67de-9fcf-4611-888c-7e5b58184a2a" providerId="ADAL" clId="{FFC930EA-DB3B-4BF8-A71B-329AD02E46CE}" dt="2022-03-18T16:00:02.824" v="7292" actId="1076"/>
          <ac:grpSpMkLst>
            <pc:docMk/>
            <pc:sldMk cId="79006163" sldId="2146846114"/>
            <ac:grpSpMk id="7" creationId="{C8B213EB-B8C1-4A1E-ACA1-D51F4DF7F1BD}"/>
          </ac:grpSpMkLst>
        </pc:grpChg>
        <pc:graphicFrameChg chg="mod">
          <ac:chgData name="Katerine Schifino" userId="37bb67de-9fcf-4611-888c-7e5b58184a2a" providerId="ADAL" clId="{FFC930EA-DB3B-4BF8-A71B-329AD02E46CE}" dt="2022-03-18T15:59:21.770" v="7290" actId="1076"/>
          <ac:graphicFrameMkLst>
            <pc:docMk/>
            <pc:sldMk cId="79006163" sldId="2146846114"/>
            <ac:graphicFrameMk id="2" creationId="{F81D94DD-05EC-46FE-B95A-7297376937D7}"/>
          </ac:graphicFrameMkLst>
        </pc:graphicFrameChg>
        <pc:picChg chg="del">
          <ac:chgData name="Katerine Schifino" userId="37bb67de-9fcf-4611-888c-7e5b58184a2a" providerId="ADAL" clId="{FFC930EA-DB3B-4BF8-A71B-329AD02E46CE}" dt="2022-03-18T15:58:10.093" v="7276" actId="478"/>
          <ac:picMkLst>
            <pc:docMk/>
            <pc:sldMk cId="79006163" sldId="2146846114"/>
            <ac:picMk id="5" creationId="{9698626C-8FFB-4190-B846-F3432A900F6E}"/>
          </ac:picMkLst>
        </pc:picChg>
        <pc:picChg chg="mod">
          <ac:chgData name="Katerine Schifino" userId="37bb67de-9fcf-4611-888c-7e5b58184a2a" providerId="ADAL" clId="{FFC930EA-DB3B-4BF8-A71B-329AD02E46CE}" dt="2022-03-18T16:00:02.824" v="7292" actId="1076"/>
          <ac:picMkLst>
            <pc:docMk/>
            <pc:sldMk cId="79006163" sldId="2146846114"/>
            <ac:picMk id="11" creationId="{272CCD8C-D91F-4F60-9AA3-B5FEAD45A21A}"/>
          </ac:picMkLst>
        </pc:picChg>
        <pc:picChg chg="mod">
          <ac:chgData name="Katerine Schifino" userId="37bb67de-9fcf-4611-888c-7e5b58184a2a" providerId="ADAL" clId="{FFC930EA-DB3B-4BF8-A71B-329AD02E46CE}" dt="2022-03-18T16:00:02.824" v="7292" actId="1076"/>
          <ac:picMkLst>
            <pc:docMk/>
            <pc:sldMk cId="79006163" sldId="2146846114"/>
            <ac:picMk id="12" creationId="{B5F3FE37-74F9-43CB-8F16-0F8F028C6471}"/>
          </ac:picMkLst>
        </pc:picChg>
      </pc:sldChg>
      <pc:sldChg chg="modSp add mod">
        <pc:chgData name="Katerine Schifino" userId="37bb67de-9fcf-4611-888c-7e5b58184a2a" providerId="ADAL" clId="{FFC930EA-DB3B-4BF8-A71B-329AD02E46CE}" dt="2022-03-18T21:12:47.579" v="7503" actId="20577"/>
        <pc:sldMkLst>
          <pc:docMk/>
          <pc:sldMk cId="820559724" sldId="2146846115"/>
        </pc:sldMkLst>
        <pc:graphicFrameChg chg="mod modGraphic">
          <ac:chgData name="Katerine Schifino" userId="37bb67de-9fcf-4611-888c-7e5b58184a2a" providerId="ADAL" clId="{FFC930EA-DB3B-4BF8-A71B-329AD02E46CE}" dt="2022-03-18T21:12:47.579" v="7503" actId="20577"/>
          <ac:graphicFrameMkLst>
            <pc:docMk/>
            <pc:sldMk cId="820559724" sldId="2146846115"/>
            <ac:graphicFrameMk id="2" creationId="{DABEA71B-03AC-48AD-8E3A-F5B4F36922D0}"/>
          </ac:graphicFrameMkLst>
        </pc:graphicFrameChg>
      </pc:sldChg>
      <pc:sldChg chg="modSp add mod">
        <pc:chgData name="Katerine Schifino" userId="37bb67de-9fcf-4611-888c-7e5b58184a2a" providerId="ADAL" clId="{FFC930EA-DB3B-4BF8-A71B-329AD02E46CE}" dt="2022-03-18T21:11:46.432" v="7450" actId="2165"/>
        <pc:sldMkLst>
          <pc:docMk/>
          <pc:sldMk cId="3566222815" sldId="2146846116"/>
        </pc:sldMkLst>
        <pc:graphicFrameChg chg="mod modGraphic">
          <ac:chgData name="Katerine Schifino" userId="37bb67de-9fcf-4611-888c-7e5b58184a2a" providerId="ADAL" clId="{FFC930EA-DB3B-4BF8-A71B-329AD02E46CE}" dt="2022-03-18T21:11:46.432" v="7450" actId="2165"/>
          <ac:graphicFrameMkLst>
            <pc:docMk/>
            <pc:sldMk cId="3566222815" sldId="2146846116"/>
            <ac:graphicFrameMk id="7" creationId="{D46312A1-FEC2-44EE-9A1F-92CAAC2AD827}"/>
          </ac:graphicFrameMkLst>
        </pc:graphicFrameChg>
      </pc:sldChg>
      <pc:sldChg chg="add del">
        <pc:chgData name="Katerine Schifino" userId="37bb67de-9fcf-4611-888c-7e5b58184a2a" providerId="ADAL" clId="{FFC930EA-DB3B-4BF8-A71B-329AD02E46CE}" dt="2022-03-18T16:22:27.147" v="7349" actId="47"/>
        <pc:sldMkLst>
          <pc:docMk/>
          <pc:sldMk cId="3134423469" sldId="2146846117"/>
        </pc:sldMkLst>
      </pc:sldChg>
      <pc:sldChg chg="addSp delSp modSp add mod">
        <pc:chgData name="Katerine Schifino" userId="37bb67de-9fcf-4611-888c-7e5b58184a2a" providerId="ADAL" clId="{FFC930EA-DB3B-4BF8-A71B-329AD02E46CE}" dt="2022-03-18T16:26:00.818" v="7430" actId="114"/>
        <pc:sldMkLst>
          <pc:docMk/>
          <pc:sldMk cId="404687484" sldId="2146846120"/>
        </pc:sldMkLst>
        <pc:spChg chg="del">
          <ac:chgData name="Katerine Schifino" userId="37bb67de-9fcf-4611-888c-7e5b58184a2a" providerId="ADAL" clId="{FFC930EA-DB3B-4BF8-A71B-329AD02E46CE}" dt="2022-03-18T16:22:46.748" v="7353" actId="478"/>
          <ac:spMkLst>
            <pc:docMk/>
            <pc:sldMk cId="404687484" sldId="2146846120"/>
            <ac:spMk id="7" creationId="{B623C279-E620-437B-A5C2-738D5D93D15B}"/>
          </ac:spMkLst>
        </pc:spChg>
        <pc:spChg chg="mod">
          <ac:chgData name="Katerine Schifino" userId="37bb67de-9fcf-4611-888c-7e5b58184a2a" providerId="ADAL" clId="{FFC930EA-DB3B-4BF8-A71B-329AD02E46CE}" dt="2022-03-18T16:26:00.818" v="7430" actId="114"/>
          <ac:spMkLst>
            <pc:docMk/>
            <pc:sldMk cId="404687484" sldId="2146846120"/>
            <ac:spMk id="8" creationId="{4571B095-B57F-4AD7-B77C-8D251FA0B17B}"/>
          </ac:spMkLst>
        </pc:spChg>
        <pc:spChg chg="del">
          <ac:chgData name="Katerine Schifino" userId="37bb67de-9fcf-4611-888c-7e5b58184a2a" providerId="ADAL" clId="{FFC930EA-DB3B-4BF8-A71B-329AD02E46CE}" dt="2022-03-18T16:22:43.596" v="7351" actId="478"/>
          <ac:spMkLst>
            <pc:docMk/>
            <pc:sldMk cId="404687484" sldId="2146846120"/>
            <ac:spMk id="9" creationId="{BB91843F-979B-4B4B-82FF-594F362F82CF}"/>
          </ac:spMkLst>
        </pc:spChg>
        <pc:spChg chg="add mod">
          <ac:chgData name="Katerine Schifino" userId="37bb67de-9fcf-4611-888c-7e5b58184a2a" providerId="ADAL" clId="{FFC930EA-DB3B-4BF8-A71B-329AD02E46CE}" dt="2022-03-18T16:22:44.123" v="7352"/>
          <ac:spMkLst>
            <pc:docMk/>
            <pc:sldMk cId="404687484" sldId="2146846120"/>
            <ac:spMk id="10" creationId="{A655C3DE-515F-4AC1-9AB0-85C88BB07AF5}"/>
          </ac:spMkLst>
        </pc:spChg>
        <pc:spChg chg="add mod">
          <ac:chgData name="Katerine Schifino" userId="37bb67de-9fcf-4611-888c-7e5b58184a2a" providerId="ADAL" clId="{FFC930EA-DB3B-4BF8-A71B-329AD02E46CE}" dt="2022-03-18T16:22:58.790" v="7363"/>
          <ac:spMkLst>
            <pc:docMk/>
            <pc:sldMk cId="404687484" sldId="2146846120"/>
            <ac:spMk id="11" creationId="{0CE4641F-B3BD-4370-AAE1-D5FAA716E724}"/>
          </ac:spMkLst>
        </pc:spChg>
        <pc:graphicFrameChg chg="del">
          <ac:chgData name="Katerine Schifino" userId="37bb67de-9fcf-4611-888c-7e5b58184a2a" providerId="ADAL" clId="{FFC930EA-DB3B-4BF8-A71B-329AD02E46CE}" dt="2022-03-18T16:22:43.596" v="7351" actId="478"/>
          <ac:graphicFrameMkLst>
            <pc:docMk/>
            <pc:sldMk cId="404687484" sldId="2146846120"/>
            <ac:graphicFrameMk id="2" creationId="{F81D94DD-05EC-46FE-B95A-7297376937D7}"/>
          </ac:graphicFrameMkLst>
        </pc:graphicFrameChg>
        <pc:graphicFrameChg chg="add mod">
          <ac:chgData name="Katerine Schifino" userId="37bb67de-9fcf-4611-888c-7e5b58184a2a" providerId="ADAL" clId="{FFC930EA-DB3B-4BF8-A71B-329AD02E46CE}" dt="2022-03-18T16:22:44.123" v="7352"/>
          <ac:graphicFrameMkLst>
            <pc:docMk/>
            <pc:sldMk cId="404687484" sldId="2146846120"/>
            <ac:graphicFrameMk id="6" creationId="{E0C64169-F596-42E8-95F9-76001DD5AD42}"/>
          </ac:graphicFrameMkLst>
        </pc:graphicFrameChg>
      </pc:sldChg>
      <pc:sldChg chg="modSp add mod">
        <pc:chgData name="Katerine Schifino" userId="37bb67de-9fcf-4611-888c-7e5b58184a2a" providerId="ADAL" clId="{FFC930EA-DB3B-4BF8-A71B-329AD02E46CE}" dt="2022-03-18T21:13:51.355" v="7511" actId="572"/>
        <pc:sldMkLst>
          <pc:docMk/>
          <pc:sldMk cId="3572489315" sldId="2146846121"/>
        </pc:sldMkLst>
        <pc:graphicFrameChg chg="mod modGraphic">
          <ac:chgData name="Katerine Schifino" userId="37bb67de-9fcf-4611-888c-7e5b58184a2a" providerId="ADAL" clId="{FFC930EA-DB3B-4BF8-A71B-329AD02E46CE}" dt="2022-03-18T21:13:51.355" v="7511" actId="572"/>
          <ac:graphicFrameMkLst>
            <pc:docMk/>
            <pc:sldMk cId="3572489315" sldId="2146846121"/>
            <ac:graphicFrameMk id="2" creationId="{DABEA71B-03AC-48AD-8E3A-F5B4F36922D0}"/>
          </ac:graphicFrameMkLst>
        </pc:graphicFrameChg>
      </pc:sldChg>
      <pc:sldChg chg="addSp delSp modSp add mod modClrScheme chgLayout">
        <pc:chgData name="Katerine Schifino" userId="37bb67de-9fcf-4611-888c-7e5b58184a2a" providerId="ADAL" clId="{FFC930EA-DB3B-4BF8-A71B-329AD02E46CE}" dt="2022-03-18T21:23:18.224" v="7960" actId="6549"/>
        <pc:sldMkLst>
          <pc:docMk/>
          <pc:sldMk cId="4171986206" sldId="2146846122"/>
        </pc:sldMkLst>
        <pc:spChg chg="add mod ord">
          <ac:chgData name="Katerine Schifino" userId="37bb67de-9fcf-4611-888c-7e5b58184a2a" providerId="ADAL" clId="{FFC930EA-DB3B-4BF8-A71B-329AD02E46CE}" dt="2022-03-18T21:22:26.478" v="7959" actId="1035"/>
          <ac:spMkLst>
            <pc:docMk/>
            <pc:sldMk cId="4171986206" sldId="2146846122"/>
            <ac:spMk id="3" creationId="{F4DB0439-D124-4764-A0AD-32975DA8BC5A}"/>
          </ac:spMkLst>
        </pc:spChg>
        <pc:spChg chg="add mod">
          <ac:chgData name="Katerine Schifino" userId="37bb67de-9fcf-4611-888c-7e5b58184a2a" providerId="ADAL" clId="{FFC930EA-DB3B-4BF8-A71B-329AD02E46CE}" dt="2022-03-18T21:15:34.846" v="7548" actId="20577"/>
          <ac:spMkLst>
            <pc:docMk/>
            <pc:sldMk cId="4171986206" sldId="2146846122"/>
            <ac:spMk id="7" creationId="{85D627C9-29B1-4848-9773-16FE4DE86C8D}"/>
          </ac:spMkLst>
        </pc:spChg>
        <pc:spChg chg="add mod">
          <ac:chgData name="Katerine Schifino" userId="37bb67de-9fcf-4611-888c-7e5b58184a2a" providerId="ADAL" clId="{FFC930EA-DB3B-4BF8-A71B-329AD02E46CE}" dt="2022-03-18T21:22:26.478" v="7959" actId="1035"/>
          <ac:spMkLst>
            <pc:docMk/>
            <pc:sldMk cId="4171986206" sldId="2146846122"/>
            <ac:spMk id="8" creationId="{50F13058-81F5-47F6-AE25-A40972F48EC1}"/>
          </ac:spMkLst>
        </pc:spChg>
        <pc:spChg chg="add mod">
          <ac:chgData name="Katerine Schifino" userId="37bb67de-9fcf-4611-888c-7e5b58184a2a" providerId="ADAL" clId="{FFC930EA-DB3B-4BF8-A71B-329AD02E46CE}" dt="2022-03-18T21:23:18.224" v="7960" actId="6549"/>
          <ac:spMkLst>
            <pc:docMk/>
            <pc:sldMk cId="4171986206" sldId="2146846122"/>
            <ac:spMk id="10" creationId="{1B12C56A-8D11-486C-BB59-68616B62BC70}"/>
          </ac:spMkLst>
        </pc:spChg>
        <pc:spChg chg="del">
          <ac:chgData name="Katerine Schifino" userId="37bb67de-9fcf-4611-888c-7e5b58184a2a" providerId="ADAL" clId="{FFC930EA-DB3B-4BF8-A71B-329AD02E46CE}" dt="2022-03-18T21:14:12.884" v="7514" actId="478"/>
          <ac:spMkLst>
            <pc:docMk/>
            <pc:sldMk cId="4171986206" sldId="2146846122"/>
            <ac:spMk id="145" creationId="{1597BE75-79C6-4C1B-9721-0E1BBD8760D8}"/>
          </ac:spMkLst>
        </pc:spChg>
        <pc:graphicFrameChg chg="del">
          <ac:chgData name="Katerine Schifino" userId="37bb67de-9fcf-4611-888c-7e5b58184a2a" providerId="ADAL" clId="{FFC930EA-DB3B-4BF8-A71B-329AD02E46CE}" dt="2022-03-18T21:14:12.884" v="7514" actId="478"/>
          <ac:graphicFrameMkLst>
            <pc:docMk/>
            <pc:sldMk cId="4171986206" sldId="2146846122"/>
            <ac:graphicFrameMk id="2" creationId="{DABEA71B-03AC-48AD-8E3A-F5B4F36922D0}"/>
          </ac:graphicFrameMkLst>
        </pc:graphicFrameChg>
        <pc:picChg chg="del">
          <ac:chgData name="Katerine Schifino" userId="37bb67de-9fcf-4611-888c-7e5b58184a2a" providerId="ADAL" clId="{FFC930EA-DB3B-4BF8-A71B-329AD02E46CE}" dt="2022-03-18T21:14:14.150" v="7515" actId="478"/>
          <ac:picMkLst>
            <pc:docMk/>
            <pc:sldMk cId="4171986206" sldId="2146846122"/>
            <ac:picMk id="6" creationId="{A34ECB51-3E0F-457D-93CF-8ECC8461D5CF}"/>
          </ac:picMkLst>
        </pc:picChg>
        <pc:picChg chg="add del mod">
          <ac:chgData name="Katerine Schifino" userId="37bb67de-9fcf-4611-888c-7e5b58184a2a" providerId="ADAL" clId="{FFC930EA-DB3B-4BF8-A71B-329AD02E46CE}" dt="2022-03-18T21:20:03.770" v="7857" actId="478"/>
          <ac:picMkLst>
            <pc:docMk/>
            <pc:sldMk cId="4171986206" sldId="2146846122"/>
            <ac:picMk id="11" creationId="{E4A08B7A-18F5-4B6E-9A8E-5FBC641B6EF6}"/>
          </ac:picMkLst>
        </pc:picChg>
        <pc:picChg chg="add mod">
          <ac:chgData name="Katerine Schifino" userId="37bb67de-9fcf-4611-888c-7e5b58184a2a" providerId="ADAL" clId="{FFC930EA-DB3B-4BF8-A71B-329AD02E46CE}" dt="2022-03-18T21:20:12.691" v="7860" actId="1076"/>
          <ac:picMkLst>
            <pc:docMk/>
            <pc:sldMk cId="4171986206" sldId="2146846122"/>
            <ac:picMk id="1026" creationId="{7449C477-B473-49B1-8D0D-48541E127DC8}"/>
          </ac:picMkLst>
        </pc:picChg>
        <pc:cxnChg chg="del">
          <ac:chgData name="Katerine Schifino" userId="37bb67de-9fcf-4611-888c-7e5b58184a2a" providerId="ADAL" clId="{FFC930EA-DB3B-4BF8-A71B-329AD02E46CE}" dt="2022-03-18T21:14:12.884" v="7514" actId="478"/>
          <ac:cxnSpMkLst>
            <pc:docMk/>
            <pc:sldMk cId="4171986206" sldId="2146846122"/>
            <ac:cxnSpMk id="9" creationId="{9E5C6AC8-A058-496E-AF83-5C015EC4396D}"/>
          </ac:cxnSpMkLst>
        </pc:cxnChg>
      </pc:sldChg>
    </pc:docChg>
  </pc:docChgLst>
  <pc:docChgLst>
    <pc:chgData name="Katerine Schifino" userId="37bb67de-9fcf-4611-888c-7e5b58184a2a" providerId="ADAL" clId="{2595FEE5-B46C-4A48-9139-4FD42CC6AB31}"/>
    <pc:docChg chg="undo custSel addSld delSld modSld sldOrd modSection">
      <pc:chgData name="Katerine Schifino" userId="37bb67de-9fcf-4611-888c-7e5b58184a2a" providerId="ADAL" clId="{2595FEE5-B46C-4A48-9139-4FD42CC6AB31}" dt="2022-03-25T20:22:04.979" v="6137" actId="20577"/>
      <pc:docMkLst>
        <pc:docMk/>
      </pc:docMkLst>
      <pc:sldChg chg="del">
        <pc:chgData name="Katerine Schifino" userId="37bb67de-9fcf-4611-888c-7e5b58184a2a" providerId="ADAL" clId="{2595FEE5-B46C-4A48-9139-4FD42CC6AB31}" dt="2022-03-25T17:52:40.366" v="15" actId="47"/>
        <pc:sldMkLst>
          <pc:docMk/>
          <pc:sldMk cId="3768827191" sldId="385"/>
        </pc:sldMkLst>
      </pc:sldChg>
      <pc:sldChg chg="del">
        <pc:chgData name="Katerine Schifino" userId="37bb67de-9fcf-4611-888c-7e5b58184a2a" providerId="ADAL" clId="{2595FEE5-B46C-4A48-9139-4FD42CC6AB31}" dt="2022-03-25T17:52:31.259" v="6" actId="47"/>
        <pc:sldMkLst>
          <pc:docMk/>
          <pc:sldMk cId="2330264627" sldId="429"/>
        </pc:sldMkLst>
      </pc:sldChg>
      <pc:sldChg chg="del">
        <pc:chgData name="Katerine Schifino" userId="37bb67de-9fcf-4611-888c-7e5b58184a2a" providerId="ADAL" clId="{2595FEE5-B46C-4A48-9139-4FD42CC6AB31}" dt="2022-03-25T17:52:52.923" v="23" actId="47"/>
        <pc:sldMkLst>
          <pc:docMk/>
          <pc:sldMk cId="4072131230" sldId="2080108012"/>
        </pc:sldMkLst>
      </pc:sldChg>
      <pc:sldChg chg="del">
        <pc:chgData name="Katerine Schifino" userId="37bb67de-9fcf-4611-888c-7e5b58184a2a" providerId="ADAL" clId="{2595FEE5-B46C-4A48-9139-4FD42CC6AB31}" dt="2022-03-25T17:52:52.165" v="22" actId="47"/>
        <pc:sldMkLst>
          <pc:docMk/>
          <pc:sldMk cId="2005008481" sldId="2080108014"/>
        </pc:sldMkLst>
      </pc:sldChg>
      <pc:sldChg chg="del">
        <pc:chgData name="Katerine Schifino" userId="37bb67de-9fcf-4611-888c-7e5b58184a2a" providerId="ADAL" clId="{2595FEE5-B46C-4A48-9139-4FD42CC6AB31}" dt="2022-03-25T17:52:27.477" v="1" actId="47"/>
        <pc:sldMkLst>
          <pc:docMk/>
          <pc:sldMk cId="3366330402" sldId="2080108015"/>
        </pc:sldMkLst>
      </pc:sldChg>
      <pc:sldChg chg="addSp delSp modSp mod ord modNotesTx">
        <pc:chgData name="Katerine Schifino" userId="37bb67de-9fcf-4611-888c-7e5b58184a2a" providerId="ADAL" clId="{2595FEE5-B46C-4A48-9139-4FD42CC6AB31}" dt="2022-03-25T20:21:54.151" v="6133" actId="20577"/>
        <pc:sldMkLst>
          <pc:docMk/>
          <pc:sldMk cId="2367529978" sldId="2146846104"/>
        </pc:sldMkLst>
        <pc:spChg chg="del mod">
          <ac:chgData name="Katerine Schifino" userId="37bb67de-9fcf-4611-888c-7e5b58184a2a" providerId="ADAL" clId="{2595FEE5-B46C-4A48-9139-4FD42CC6AB31}" dt="2022-03-25T18:16:59.867" v="1866" actId="478"/>
          <ac:spMkLst>
            <pc:docMk/>
            <pc:sldMk cId="2367529978" sldId="2146846104"/>
            <ac:spMk id="3" creationId="{F37952A8-26A7-4620-BB6E-749B2F7FE437}"/>
          </ac:spMkLst>
        </pc:spChg>
        <pc:spChg chg="mod">
          <ac:chgData name="Katerine Schifino" userId="37bb67de-9fcf-4611-888c-7e5b58184a2a" providerId="ADAL" clId="{2595FEE5-B46C-4A48-9139-4FD42CC6AB31}" dt="2022-03-25T18:34:04.393" v="3204" actId="1037"/>
          <ac:spMkLst>
            <pc:docMk/>
            <pc:sldMk cId="2367529978" sldId="2146846104"/>
            <ac:spMk id="4" creationId="{CD3B507D-B343-498F-97D5-78CBF4589AAB}"/>
          </ac:spMkLst>
        </pc:spChg>
        <pc:spChg chg="add mod">
          <ac:chgData name="Katerine Schifino" userId="37bb67de-9fcf-4611-888c-7e5b58184a2a" providerId="ADAL" clId="{2595FEE5-B46C-4A48-9139-4FD42CC6AB31}" dt="2022-03-25T18:21:04.973" v="2350" actId="1076"/>
          <ac:spMkLst>
            <pc:docMk/>
            <pc:sldMk cId="2367529978" sldId="2146846104"/>
            <ac:spMk id="14" creationId="{9187CEAE-8ECA-42DC-B83E-D7E14A7FE3F0}"/>
          </ac:spMkLst>
        </pc:spChg>
        <pc:spChg chg="del mod">
          <ac:chgData name="Katerine Schifino" userId="37bb67de-9fcf-4611-888c-7e5b58184a2a" providerId="ADAL" clId="{2595FEE5-B46C-4A48-9139-4FD42CC6AB31}" dt="2022-03-25T18:16:59.867" v="1866" actId="478"/>
          <ac:spMkLst>
            <pc:docMk/>
            <pc:sldMk cId="2367529978" sldId="2146846104"/>
            <ac:spMk id="55" creationId="{693BE602-C9B4-412A-8447-FDCBB931768E}"/>
          </ac:spMkLst>
        </pc:spChg>
        <pc:spChg chg="add mod">
          <ac:chgData name="Katerine Schifino" userId="37bb67de-9fcf-4611-888c-7e5b58184a2a" providerId="ADAL" clId="{2595FEE5-B46C-4A48-9139-4FD42CC6AB31}" dt="2022-03-25T18:21:04.973" v="2350" actId="1076"/>
          <ac:spMkLst>
            <pc:docMk/>
            <pc:sldMk cId="2367529978" sldId="2146846104"/>
            <ac:spMk id="56" creationId="{8214B662-1AF3-4CC0-A536-D6A8FC01B193}"/>
          </ac:spMkLst>
        </pc:spChg>
        <pc:spChg chg="add mod">
          <ac:chgData name="Katerine Schifino" userId="37bb67de-9fcf-4611-888c-7e5b58184a2a" providerId="ADAL" clId="{2595FEE5-B46C-4A48-9139-4FD42CC6AB31}" dt="2022-03-25T18:21:04.973" v="2350" actId="1076"/>
          <ac:spMkLst>
            <pc:docMk/>
            <pc:sldMk cId="2367529978" sldId="2146846104"/>
            <ac:spMk id="64" creationId="{CC23A16D-77B6-4FA0-9EC3-2F02B8E9720E}"/>
          </ac:spMkLst>
        </pc:spChg>
        <pc:spChg chg="add mod">
          <ac:chgData name="Katerine Schifino" userId="37bb67de-9fcf-4611-888c-7e5b58184a2a" providerId="ADAL" clId="{2595FEE5-B46C-4A48-9139-4FD42CC6AB31}" dt="2022-03-25T18:21:04.973" v="2350" actId="1076"/>
          <ac:spMkLst>
            <pc:docMk/>
            <pc:sldMk cId="2367529978" sldId="2146846104"/>
            <ac:spMk id="65" creationId="{3D5F1061-E9CA-4D02-B600-56C772D9F61A}"/>
          </ac:spMkLst>
        </pc:spChg>
        <pc:spChg chg="add mod">
          <ac:chgData name="Katerine Schifino" userId="37bb67de-9fcf-4611-888c-7e5b58184a2a" providerId="ADAL" clId="{2595FEE5-B46C-4A48-9139-4FD42CC6AB31}" dt="2022-03-25T18:21:04.973" v="2350" actId="1076"/>
          <ac:spMkLst>
            <pc:docMk/>
            <pc:sldMk cId="2367529978" sldId="2146846104"/>
            <ac:spMk id="66" creationId="{FAE517C8-F6C0-486E-B028-3134D794D04A}"/>
          </ac:spMkLst>
        </pc:spChg>
        <pc:grpChg chg="mod">
          <ac:chgData name="Katerine Schifino" userId="37bb67de-9fcf-4611-888c-7e5b58184a2a" providerId="ADAL" clId="{2595FEE5-B46C-4A48-9139-4FD42CC6AB31}" dt="2022-03-25T18:21:04.973" v="2350" actId="1076"/>
          <ac:grpSpMkLst>
            <pc:docMk/>
            <pc:sldMk cId="2367529978" sldId="2146846104"/>
            <ac:grpSpMk id="6" creationId="{261DB4A7-4C07-46D7-916D-B61EDC194383}"/>
          </ac:grpSpMkLst>
        </pc:grpChg>
        <pc:grpChg chg="del mod">
          <ac:chgData name="Katerine Schifino" userId="37bb67de-9fcf-4611-888c-7e5b58184a2a" providerId="ADAL" clId="{2595FEE5-B46C-4A48-9139-4FD42CC6AB31}" dt="2022-03-25T18:16:59.867" v="1866" actId="478"/>
          <ac:grpSpMkLst>
            <pc:docMk/>
            <pc:sldMk cId="2367529978" sldId="2146846104"/>
            <ac:grpSpMk id="54" creationId="{C8CACEA6-0212-4EFD-B253-05AA389E4D94}"/>
          </ac:grpSpMkLst>
        </pc:grpChg>
      </pc:sldChg>
      <pc:sldChg chg="del">
        <pc:chgData name="Katerine Schifino" userId="37bb67de-9fcf-4611-888c-7e5b58184a2a" providerId="ADAL" clId="{2595FEE5-B46C-4A48-9139-4FD42CC6AB31}" dt="2022-03-25T17:52:34.002" v="9" actId="47"/>
        <pc:sldMkLst>
          <pc:docMk/>
          <pc:sldMk cId="1468592198" sldId="2146846105"/>
        </pc:sldMkLst>
      </pc:sldChg>
      <pc:sldChg chg="del">
        <pc:chgData name="Katerine Schifino" userId="37bb67de-9fcf-4611-888c-7e5b58184a2a" providerId="ADAL" clId="{2595FEE5-B46C-4A48-9139-4FD42CC6AB31}" dt="2022-03-25T17:52:39.842" v="14" actId="47"/>
        <pc:sldMkLst>
          <pc:docMk/>
          <pc:sldMk cId="180394613" sldId="2146846108"/>
        </pc:sldMkLst>
      </pc:sldChg>
      <pc:sldChg chg="del">
        <pc:chgData name="Katerine Schifino" userId="37bb67de-9fcf-4611-888c-7e5b58184a2a" providerId="ADAL" clId="{2595FEE5-B46C-4A48-9139-4FD42CC6AB31}" dt="2022-03-25T17:52:33.202" v="7" actId="47"/>
        <pc:sldMkLst>
          <pc:docMk/>
          <pc:sldMk cId="1307543664" sldId="2146846112"/>
        </pc:sldMkLst>
      </pc:sldChg>
      <pc:sldChg chg="del">
        <pc:chgData name="Katerine Schifino" userId="37bb67de-9fcf-4611-888c-7e5b58184a2a" providerId="ADAL" clId="{2595FEE5-B46C-4A48-9139-4FD42CC6AB31}" dt="2022-03-25T17:52:26.804" v="0" actId="47"/>
        <pc:sldMkLst>
          <pc:docMk/>
          <pc:sldMk cId="820559724" sldId="2146846115"/>
        </pc:sldMkLst>
      </pc:sldChg>
      <pc:sldChg chg="del">
        <pc:chgData name="Katerine Schifino" userId="37bb67de-9fcf-4611-888c-7e5b58184a2a" providerId="ADAL" clId="{2595FEE5-B46C-4A48-9139-4FD42CC6AB31}" dt="2022-03-25T17:52:29.800" v="4" actId="47"/>
        <pc:sldMkLst>
          <pc:docMk/>
          <pc:sldMk cId="1527030636" sldId="2146846123"/>
        </pc:sldMkLst>
      </pc:sldChg>
      <pc:sldChg chg="del">
        <pc:chgData name="Katerine Schifino" userId="37bb67de-9fcf-4611-888c-7e5b58184a2a" providerId="ADAL" clId="{2595FEE5-B46C-4A48-9139-4FD42CC6AB31}" dt="2022-03-25T17:52:43.562" v="18" actId="47"/>
        <pc:sldMkLst>
          <pc:docMk/>
          <pc:sldMk cId="911348781" sldId="2146846129"/>
        </pc:sldMkLst>
      </pc:sldChg>
      <pc:sldChg chg="del">
        <pc:chgData name="Katerine Schifino" userId="37bb67de-9fcf-4611-888c-7e5b58184a2a" providerId="ADAL" clId="{2595FEE5-B46C-4A48-9139-4FD42CC6AB31}" dt="2022-03-25T17:52:41.449" v="16" actId="47"/>
        <pc:sldMkLst>
          <pc:docMk/>
          <pc:sldMk cId="183289927" sldId="2146846131"/>
        </pc:sldMkLst>
      </pc:sldChg>
      <pc:sldChg chg="del">
        <pc:chgData name="Katerine Schifino" userId="37bb67de-9fcf-4611-888c-7e5b58184a2a" providerId="ADAL" clId="{2595FEE5-B46C-4A48-9139-4FD42CC6AB31}" dt="2022-03-25T17:52:33.491" v="8" actId="47"/>
        <pc:sldMkLst>
          <pc:docMk/>
          <pc:sldMk cId="2121835659" sldId="2146846132"/>
        </pc:sldMkLst>
      </pc:sldChg>
      <pc:sldChg chg="del">
        <pc:chgData name="Katerine Schifino" userId="37bb67de-9fcf-4611-888c-7e5b58184a2a" providerId="ADAL" clId="{2595FEE5-B46C-4A48-9139-4FD42CC6AB31}" dt="2022-03-25T17:52:29.098" v="3" actId="47"/>
        <pc:sldMkLst>
          <pc:docMk/>
          <pc:sldMk cId="126793636" sldId="2146846133"/>
        </pc:sldMkLst>
      </pc:sldChg>
      <pc:sldChg chg="del">
        <pc:chgData name="Katerine Schifino" userId="37bb67de-9fcf-4611-888c-7e5b58184a2a" providerId="ADAL" clId="{2595FEE5-B46C-4A48-9139-4FD42CC6AB31}" dt="2022-03-25T17:52:42.616" v="17" actId="47"/>
        <pc:sldMkLst>
          <pc:docMk/>
          <pc:sldMk cId="2897237463" sldId="2146846134"/>
        </pc:sldMkLst>
      </pc:sldChg>
      <pc:sldChg chg="addSp delSp modSp mod ord modNotesTx">
        <pc:chgData name="Katerine Schifino" userId="37bb67de-9fcf-4611-888c-7e5b58184a2a" providerId="ADAL" clId="{2595FEE5-B46C-4A48-9139-4FD42CC6AB31}" dt="2022-03-25T20:21:56.763" v="6134" actId="20577"/>
        <pc:sldMkLst>
          <pc:docMk/>
          <pc:sldMk cId="3424299804" sldId="2146846135"/>
        </pc:sldMkLst>
        <pc:spChg chg="add mod">
          <ac:chgData name="Katerine Schifino" userId="37bb67de-9fcf-4611-888c-7e5b58184a2a" providerId="ADAL" clId="{2595FEE5-B46C-4A48-9139-4FD42CC6AB31}" dt="2022-03-25T18:16:30.862" v="1841" actId="2711"/>
          <ac:spMkLst>
            <pc:docMk/>
            <pc:sldMk cId="3424299804" sldId="2146846135"/>
            <ac:spMk id="2" creationId="{3F6BB03A-9D90-4B2D-A0B2-C265AB00B4C1}"/>
          </ac:spMkLst>
        </pc:spChg>
        <pc:spChg chg="mod">
          <ac:chgData name="Katerine Schifino" userId="37bb67de-9fcf-4611-888c-7e5b58184a2a" providerId="ADAL" clId="{2595FEE5-B46C-4A48-9139-4FD42CC6AB31}" dt="2022-03-25T18:31:49.632" v="3156" actId="20577"/>
          <ac:spMkLst>
            <pc:docMk/>
            <pc:sldMk cId="3424299804" sldId="2146846135"/>
            <ac:spMk id="4" creationId="{CD3B507D-B343-498F-97D5-78CBF4589AAB}"/>
          </ac:spMkLst>
        </pc:spChg>
        <pc:spChg chg="add mod">
          <ac:chgData name="Katerine Schifino" userId="37bb67de-9fcf-4611-888c-7e5b58184a2a" providerId="ADAL" clId="{2595FEE5-B46C-4A48-9139-4FD42CC6AB31}" dt="2022-03-25T18:20:02.649" v="2333" actId="1076"/>
          <ac:spMkLst>
            <pc:docMk/>
            <pc:sldMk cId="3424299804" sldId="2146846135"/>
            <ac:spMk id="18" creationId="{4C4406A5-C00B-4FD4-B900-3DF7405E4240}"/>
          </ac:spMkLst>
        </pc:spChg>
        <pc:spChg chg="add mod">
          <ac:chgData name="Katerine Schifino" userId="37bb67de-9fcf-4611-888c-7e5b58184a2a" providerId="ADAL" clId="{2595FEE5-B46C-4A48-9139-4FD42CC6AB31}" dt="2022-03-25T18:20:11.451" v="2336" actId="1076"/>
          <ac:spMkLst>
            <pc:docMk/>
            <pc:sldMk cId="3424299804" sldId="2146846135"/>
            <ac:spMk id="19" creationId="{0ADDEE75-6ABC-4665-BA8C-6E9C49F01F2A}"/>
          </ac:spMkLst>
        </pc:spChg>
        <pc:spChg chg="add mod">
          <ac:chgData name="Katerine Schifino" userId="37bb67de-9fcf-4611-888c-7e5b58184a2a" providerId="ADAL" clId="{2595FEE5-B46C-4A48-9139-4FD42CC6AB31}" dt="2022-03-25T18:20:16.190" v="2338" actId="1076"/>
          <ac:spMkLst>
            <pc:docMk/>
            <pc:sldMk cId="3424299804" sldId="2146846135"/>
            <ac:spMk id="20" creationId="{D780F2E8-6370-46C5-8F64-DACAF21B65BB}"/>
          </ac:spMkLst>
        </pc:spChg>
        <pc:spChg chg="add mod">
          <ac:chgData name="Katerine Schifino" userId="37bb67de-9fcf-4611-888c-7e5b58184a2a" providerId="ADAL" clId="{2595FEE5-B46C-4A48-9139-4FD42CC6AB31}" dt="2022-03-25T18:20:19.907" v="2340" actId="1076"/>
          <ac:spMkLst>
            <pc:docMk/>
            <pc:sldMk cId="3424299804" sldId="2146846135"/>
            <ac:spMk id="21" creationId="{F145CD1F-2C2C-44B5-AD05-046A21800F11}"/>
          </ac:spMkLst>
        </pc:spChg>
        <pc:spChg chg="add mod">
          <ac:chgData name="Katerine Schifino" userId="37bb67de-9fcf-4611-888c-7e5b58184a2a" providerId="ADAL" clId="{2595FEE5-B46C-4A48-9139-4FD42CC6AB31}" dt="2022-03-25T18:20:33.070" v="2344" actId="20577"/>
          <ac:spMkLst>
            <pc:docMk/>
            <pc:sldMk cId="3424299804" sldId="2146846135"/>
            <ac:spMk id="22" creationId="{6F400DA5-9A01-4253-B563-3CC5E567F206}"/>
          </ac:spMkLst>
        </pc:spChg>
        <pc:spChg chg="add mod">
          <ac:chgData name="Katerine Schifino" userId="37bb67de-9fcf-4611-888c-7e5b58184a2a" providerId="ADAL" clId="{2595FEE5-B46C-4A48-9139-4FD42CC6AB31}" dt="2022-03-25T18:20:38.198" v="2346" actId="1076"/>
          <ac:spMkLst>
            <pc:docMk/>
            <pc:sldMk cId="3424299804" sldId="2146846135"/>
            <ac:spMk id="23" creationId="{01F1AC42-BC30-4C91-8933-CB5CABA305E7}"/>
          </ac:spMkLst>
        </pc:spChg>
        <pc:spChg chg="add mod">
          <ac:chgData name="Katerine Schifino" userId="37bb67de-9fcf-4611-888c-7e5b58184a2a" providerId="ADAL" clId="{2595FEE5-B46C-4A48-9139-4FD42CC6AB31}" dt="2022-03-25T18:20:52.882" v="2349" actId="1076"/>
          <ac:spMkLst>
            <pc:docMk/>
            <pc:sldMk cId="3424299804" sldId="2146846135"/>
            <ac:spMk id="24" creationId="{6D6F1EE0-E6F0-49E7-9071-7A6CA4538982}"/>
          </ac:spMkLst>
        </pc:spChg>
        <pc:spChg chg="mod">
          <ac:chgData name="Katerine Schifino" userId="37bb67de-9fcf-4611-888c-7e5b58184a2a" providerId="ADAL" clId="{2595FEE5-B46C-4A48-9139-4FD42CC6AB31}" dt="2022-03-25T18:20:42.132" v="2347" actId="14100"/>
          <ac:spMkLst>
            <pc:docMk/>
            <pc:sldMk cId="3424299804" sldId="2146846135"/>
            <ac:spMk id="29" creationId="{AC912CE1-71EF-4250-8EA0-0DDA67063F18}"/>
          </ac:spMkLst>
        </pc:spChg>
        <pc:spChg chg="mod">
          <ac:chgData name="Katerine Schifino" userId="37bb67de-9fcf-4611-888c-7e5b58184a2a" providerId="ADAL" clId="{2595FEE5-B46C-4A48-9139-4FD42CC6AB31}" dt="2022-03-25T18:16:38.322" v="1843" actId="1076"/>
          <ac:spMkLst>
            <pc:docMk/>
            <pc:sldMk cId="3424299804" sldId="2146846135"/>
            <ac:spMk id="56" creationId="{B46C1083-1642-4043-8CB4-E3CEDA2CFB1E}"/>
          </ac:spMkLst>
        </pc:spChg>
        <pc:spChg chg="mod">
          <ac:chgData name="Katerine Schifino" userId="37bb67de-9fcf-4611-888c-7e5b58184a2a" providerId="ADAL" clId="{2595FEE5-B46C-4A48-9139-4FD42CC6AB31}" dt="2022-03-25T18:15:35.799" v="1797" actId="20577"/>
          <ac:spMkLst>
            <pc:docMk/>
            <pc:sldMk cId="3424299804" sldId="2146846135"/>
            <ac:spMk id="64" creationId="{E2A1B381-8D93-4A35-BB90-6547B7AF5416}"/>
          </ac:spMkLst>
        </pc:spChg>
        <pc:spChg chg="mod">
          <ac:chgData name="Katerine Schifino" userId="37bb67de-9fcf-4611-888c-7e5b58184a2a" providerId="ADAL" clId="{2595FEE5-B46C-4A48-9139-4FD42CC6AB31}" dt="2022-03-25T18:15:28.171" v="1783" actId="6549"/>
          <ac:spMkLst>
            <pc:docMk/>
            <pc:sldMk cId="3424299804" sldId="2146846135"/>
            <ac:spMk id="65" creationId="{2D059A3F-9F75-4168-8707-F65A92010CB3}"/>
          </ac:spMkLst>
        </pc:spChg>
        <pc:spChg chg="mod">
          <ac:chgData name="Katerine Schifino" userId="37bb67de-9fcf-4611-888c-7e5b58184a2a" providerId="ADAL" clId="{2595FEE5-B46C-4A48-9139-4FD42CC6AB31}" dt="2022-03-25T18:15:38.430" v="1798" actId="20577"/>
          <ac:spMkLst>
            <pc:docMk/>
            <pc:sldMk cId="3424299804" sldId="2146846135"/>
            <ac:spMk id="66" creationId="{3DD6027A-F97B-4C13-8192-41677BFDC63C}"/>
          </ac:spMkLst>
        </pc:spChg>
        <pc:spChg chg="mod">
          <ac:chgData name="Katerine Schifino" userId="37bb67de-9fcf-4611-888c-7e5b58184a2a" providerId="ADAL" clId="{2595FEE5-B46C-4A48-9139-4FD42CC6AB31}" dt="2022-03-25T18:15:40.690" v="1799" actId="20577"/>
          <ac:spMkLst>
            <pc:docMk/>
            <pc:sldMk cId="3424299804" sldId="2146846135"/>
            <ac:spMk id="67" creationId="{E1A64BB7-1DB4-41FC-9EB1-B443634F2116}"/>
          </ac:spMkLst>
        </pc:spChg>
        <pc:spChg chg="mod">
          <ac:chgData name="Katerine Schifino" userId="37bb67de-9fcf-4611-888c-7e5b58184a2a" providerId="ADAL" clId="{2595FEE5-B46C-4A48-9139-4FD42CC6AB31}" dt="2022-03-25T18:15:42.464" v="1800" actId="20577"/>
          <ac:spMkLst>
            <pc:docMk/>
            <pc:sldMk cId="3424299804" sldId="2146846135"/>
            <ac:spMk id="68" creationId="{6BDF7D48-EAED-4B84-A1DC-098864858910}"/>
          </ac:spMkLst>
        </pc:spChg>
        <pc:graphicFrameChg chg="add mod modGraphic">
          <ac:chgData name="Katerine Schifino" userId="37bb67de-9fcf-4611-888c-7e5b58184a2a" providerId="ADAL" clId="{2595FEE5-B46C-4A48-9139-4FD42CC6AB31}" dt="2022-03-25T19:18:45.608" v="5963" actId="1076"/>
          <ac:graphicFrameMkLst>
            <pc:docMk/>
            <pc:sldMk cId="3424299804" sldId="2146846135"/>
            <ac:graphicFrameMk id="3" creationId="{A3094207-4D4A-47E7-B0D1-41F594FAD789}"/>
          </ac:graphicFrameMkLst>
        </pc:graphicFrameChg>
        <pc:picChg chg="del">
          <ac:chgData name="Katerine Schifino" userId="37bb67de-9fcf-4611-888c-7e5b58184a2a" providerId="ADAL" clId="{2595FEE5-B46C-4A48-9139-4FD42CC6AB31}" dt="2022-03-25T18:15:53.499" v="1822" actId="478"/>
          <ac:picMkLst>
            <pc:docMk/>
            <pc:sldMk cId="3424299804" sldId="2146846135"/>
            <ac:picMk id="28" creationId="{3293A6C5-7385-47C4-92CA-7B83DA47BCB5}"/>
          </ac:picMkLst>
        </pc:picChg>
        <pc:picChg chg="del">
          <ac:chgData name="Katerine Schifino" userId="37bb67de-9fcf-4611-888c-7e5b58184a2a" providerId="ADAL" clId="{2595FEE5-B46C-4A48-9139-4FD42CC6AB31}" dt="2022-03-25T18:16:34.922" v="1842" actId="478"/>
          <ac:picMkLst>
            <pc:docMk/>
            <pc:sldMk cId="3424299804" sldId="2146846135"/>
            <ac:picMk id="31" creationId="{8217D5D6-2F7E-454D-BCBA-E809FA460033}"/>
          </ac:picMkLst>
        </pc:picChg>
      </pc:sldChg>
      <pc:sldChg chg="addSp delSp modSp mod ord modNotesTx">
        <pc:chgData name="Katerine Schifino" userId="37bb67de-9fcf-4611-888c-7e5b58184a2a" providerId="ADAL" clId="{2595FEE5-B46C-4A48-9139-4FD42CC6AB31}" dt="2022-03-25T20:22:04.979" v="6137" actId="20577"/>
        <pc:sldMkLst>
          <pc:docMk/>
          <pc:sldMk cId="3576568090" sldId="2146846137"/>
        </pc:sldMkLst>
        <pc:spChg chg="mod">
          <ac:chgData name="Katerine Schifino" userId="37bb67de-9fcf-4611-888c-7e5b58184a2a" providerId="ADAL" clId="{2595FEE5-B46C-4A48-9139-4FD42CC6AB31}" dt="2022-03-25T17:54:20.795" v="40" actId="20577"/>
          <ac:spMkLst>
            <pc:docMk/>
            <pc:sldMk cId="3576568090" sldId="2146846137"/>
            <ac:spMk id="6" creationId="{C3E24BFF-A0DB-4ECE-96D3-5EAB937B7323}"/>
          </ac:spMkLst>
        </pc:spChg>
        <pc:spChg chg="del mod">
          <ac:chgData name="Katerine Schifino" userId="37bb67de-9fcf-4611-888c-7e5b58184a2a" providerId="ADAL" clId="{2595FEE5-B46C-4A48-9139-4FD42CC6AB31}" dt="2022-03-25T18:00:04.920" v="333" actId="478"/>
          <ac:spMkLst>
            <pc:docMk/>
            <pc:sldMk cId="3576568090" sldId="2146846137"/>
            <ac:spMk id="7" creationId="{9B3DE356-A217-4930-B091-FDA68F880392}"/>
          </ac:spMkLst>
        </pc:spChg>
        <pc:spChg chg="del mod">
          <ac:chgData name="Katerine Schifino" userId="37bb67de-9fcf-4611-888c-7e5b58184a2a" providerId="ADAL" clId="{2595FEE5-B46C-4A48-9139-4FD42CC6AB31}" dt="2022-03-25T18:00:01.433" v="332" actId="478"/>
          <ac:spMkLst>
            <pc:docMk/>
            <pc:sldMk cId="3576568090" sldId="2146846137"/>
            <ac:spMk id="8" creationId="{F3692B0D-82AC-41A6-A5BD-1A4B9AC9B985}"/>
          </ac:spMkLst>
        </pc:spChg>
        <pc:spChg chg="add mod">
          <ac:chgData name="Katerine Schifino" userId="37bb67de-9fcf-4611-888c-7e5b58184a2a" providerId="ADAL" clId="{2595FEE5-B46C-4A48-9139-4FD42CC6AB31}" dt="2022-03-25T18:03:40.907" v="788" actId="115"/>
          <ac:spMkLst>
            <pc:docMk/>
            <pc:sldMk cId="3576568090" sldId="2146846137"/>
            <ac:spMk id="9" creationId="{C46E46B2-8DA6-4180-BE6E-D6D94C9C18D5}"/>
          </ac:spMkLst>
        </pc:spChg>
        <pc:graphicFrameChg chg="add mod modGraphic">
          <ac:chgData name="Katerine Schifino" userId="37bb67de-9fcf-4611-888c-7e5b58184a2a" providerId="ADAL" clId="{2595FEE5-B46C-4A48-9139-4FD42CC6AB31}" dt="2022-03-25T18:41:41.839" v="4055" actId="1076"/>
          <ac:graphicFrameMkLst>
            <pc:docMk/>
            <pc:sldMk cId="3576568090" sldId="2146846137"/>
            <ac:graphicFrameMk id="2" creationId="{90C4ECCF-9B28-475A-8668-643F413BD5F2}"/>
          </ac:graphicFrameMkLst>
        </pc:graphicFrameChg>
        <pc:picChg chg="del mod">
          <ac:chgData name="Katerine Schifino" userId="37bb67de-9fcf-4611-888c-7e5b58184a2a" providerId="ADAL" clId="{2595FEE5-B46C-4A48-9139-4FD42CC6AB31}" dt="2022-03-25T18:00:04.920" v="333" actId="478"/>
          <ac:picMkLst>
            <pc:docMk/>
            <pc:sldMk cId="3576568090" sldId="2146846137"/>
            <ac:picMk id="5126" creationId="{895C0EEB-02B6-450D-A21B-41CA55BD36FB}"/>
          </ac:picMkLst>
        </pc:picChg>
      </pc:sldChg>
      <pc:sldChg chg="add del">
        <pc:chgData name="Katerine Schifino" userId="37bb67de-9fcf-4611-888c-7e5b58184a2a" providerId="ADAL" clId="{2595FEE5-B46C-4A48-9139-4FD42CC6AB31}" dt="2022-03-25T17:52:38.336" v="12" actId="47"/>
        <pc:sldMkLst>
          <pc:docMk/>
          <pc:sldMk cId="1726142947" sldId="2146846138"/>
        </pc:sldMkLst>
      </pc:sldChg>
      <pc:sldChg chg="addSp delSp modSp add mod ord modNotesTx">
        <pc:chgData name="Katerine Schifino" userId="37bb67de-9fcf-4611-888c-7e5b58184a2a" providerId="ADAL" clId="{2595FEE5-B46C-4A48-9139-4FD42CC6AB31}" dt="2022-03-25T20:21:52.019" v="6132" actId="20577"/>
        <pc:sldMkLst>
          <pc:docMk/>
          <pc:sldMk cId="2729674122" sldId="2146846138"/>
        </pc:sldMkLst>
        <pc:spChg chg="del mod">
          <ac:chgData name="Katerine Schifino" userId="37bb67de-9fcf-4611-888c-7e5b58184a2a" providerId="ADAL" clId="{2595FEE5-B46C-4A48-9139-4FD42CC6AB31}" dt="2022-03-25T19:08:13.843" v="5039" actId="478"/>
          <ac:spMkLst>
            <pc:docMk/>
            <pc:sldMk cId="2729674122" sldId="2146846138"/>
            <ac:spMk id="6" creationId="{C3E24BFF-A0DB-4ECE-96D3-5EAB937B7323}"/>
          </ac:spMkLst>
        </pc:spChg>
        <pc:spChg chg="del">
          <ac:chgData name="Katerine Schifino" userId="37bb67de-9fcf-4611-888c-7e5b58184a2a" providerId="ADAL" clId="{2595FEE5-B46C-4A48-9139-4FD42CC6AB31}" dt="2022-03-25T18:35:30.078" v="3347" actId="478"/>
          <ac:spMkLst>
            <pc:docMk/>
            <pc:sldMk cId="2729674122" sldId="2146846138"/>
            <ac:spMk id="7" creationId="{9B3DE356-A217-4930-B091-FDA68F880392}"/>
          </ac:spMkLst>
        </pc:spChg>
        <pc:spChg chg="mod">
          <ac:chgData name="Katerine Schifino" userId="37bb67de-9fcf-4611-888c-7e5b58184a2a" providerId="ADAL" clId="{2595FEE5-B46C-4A48-9139-4FD42CC6AB31}" dt="2022-03-25T19:08:16.831" v="5041" actId="1076"/>
          <ac:spMkLst>
            <pc:docMk/>
            <pc:sldMk cId="2729674122" sldId="2146846138"/>
            <ac:spMk id="8" creationId="{F3692B0D-82AC-41A6-A5BD-1A4B9AC9B985}"/>
          </ac:spMkLst>
        </pc:spChg>
        <pc:spChg chg="add mod">
          <ac:chgData name="Katerine Schifino" userId="37bb67de-9fcf-4611-888c-7e5b58184a2a" providerId="ADAL" clId="{2595FEE5-B46C-4A48-9139-4FD42CC6AB31}" dt="2022-03-25T19:08:14.353" v="5040"/>
          <ac:spMkLst>
            <pc:docMk/>
            <pc:sldMk cId="2729674122" sldId="2146846138"/>
            <ac:spMk id="9" creationId="{CE4A2C1A-0104-420F-86F4-4F0E52E284BB}"/>
          </ac:spMkLst>
        </pc:spChg>
        <pc:picChg chg="del mod">
          <ac:chgData name="Katerine Schifino" userId="37bb67de-9fcf-4611-888c-7e5b58184a2a" providerId="ADAL" clId="{2595FEE5-B46C-4A48-9139-4FD42CC6AB31}" dt="2022-03-25T18:37:15.780" v="3624" actId="478"/>
          <ac:picMkLst>
            <pc:docMk/>
            <pc:sldMk cId="2729674122" sldId="2146846138"/>
            <ac:picMk id="5126" creationId="{895C0EEB-02B6-450D-A21B-41CA55BD36FB}"/>
          </ac:picMkLst>
        </pc:picChg>
      </pc:sldChg>
      <pc:sldChg chg="del">
        <pc:chgData name="Katerine Schifino" userId="37bb67de-9fcf-4611-888c-7e5b58184a2a" providerId="ADAL" clId="{2595FEE5-B46C-4A48-9139-4FD42CC6AB31}" dt="2022-03-25T17:52:28.146" v="2" actId="47"/>
        <pc:sldMkLst>
          <pc:docMk/>
          <pc:sldMk cId="829897845" sldId="2146846139"/>
        </pc:sldMkLst>
      </pc:sldChg>
      <pc:sldChg chg="addSp delSp modSp add mod modNotesTx">
        <pc:chgData name="Katerine Schifino" userId="37bb67de-9fcf-4611-888c-7e5b58184a2a" providerId="ADAL" clId="{2595FEE5-B46C-4A48-9139-4FD42CC6AB31}" dt="2022-03-25T20:22:02.742" v="6136" actId="20577"/>
        <pc:sldMkLst>
          <pc:docMk/>
          <pc:sldMk cId="3308792200" sldId="2146846139"/>
        </pc:sldMkLst>
        <pc:spChg chg="add mod">
          <ac:chgData name="Katerine Schifino" userId="37bb67de-9fcf-4611-888c-7e5b58184a2a" providerId="ADAL" clId="{2595FEE5-B46C-4A48-9139-4FD42CC6AB31}" dt="2022-03-25T18:14:09.088" v="1600" actId="1076"/>
          <ac:spMkLst>
            <pc:docMk/>
            <pc:sldMk cId="3308792200" sldId="2146846139"/>
            <ac:spMk id="5" creationId="{A807FA6B-29BF-428C-875A-43AB91CF3674}"/>
          </ac:spMkLst>
        </pc:spChg>
        <pc:spChg chg="mod">
          <ac:chgData name="Katerine Schifino" userId="37bb67de-9fcf-4611-888c-7e5b58184a2a" providerId="ADAL" clId="{2595FEE5-B46C-4A48-9139-4FD42CC6AB31}" dt="2022-03-25T18:08:29.414" v="1121" actId="1076"/>
          <ac:spMkLst>
            <pc:docMk/>
            <pc:sldMk cId="3308792200" sldId="2146846139"/>
            <ac:spMk id="6" creationId="{C3E24BFF-A0DB-4ECE-96D3-5EAB937B7323}"/>
          </ac:spMkLst>
        </pc:spChg>
        <pc:spChg chg="mod">
          <ac:chgData name="Katerine Schifino" userId="37bb67de-9fcf-4611-888c-7e5b58184a2a" providerId="ADAL" clId="{2595FEE5-B46C-4A48-9139-4FD42CC6AB31}" dt="2022-03-25T18:09:10.228" v="1129" actId="552"/>
          <ac:spMkLst>
            <pc:docMk/>
            <pc:sldMk cId="3308792200" sldId="2146846139"/>
            <ac:spMk id="9" creationId="{C46E46B2-8DA6-4180-BE6E-D6D94C9C18D5}"/>
          </ac:spMkLst>
        </pc:spChg>
        <pc:spChg chg="add mod">
          <ac:chgData name="Katerine Schifino" userId="37bb67de-9fcf-4611-888c-7e5b58184a2a" providerId="ADAL" clId="{2595FEE5-B46C-4A48-9139-4FD42CC6AB31}" dt="2022-03-25T18:13:59.988" v="1599" actId="20577"/>
          <ac:spMkLst>
            <pc:docMk/>
            <pc:sldMk cId="3308792200" sldId="2146846139"/>
            <ac:spMk id="10" creationId="{BD334509-8071-4DDA-8AA5-4A11F7D38E21}"/>
          </ac:spMkLst>
        </pc:spChg>
        <pc:graphicFrameChg chg="del">
          <ac:chgData name="Katerine Schifino" userId="37bb67de-9fcf-4611-888c-7e5b58184a2a" providerId="ADAL" clId="{2595FEE5-B46C-4A48-9139-4FD42CC6AB31}" dt="2022-03-25T18:04:13.694" v="803" actId="478"/>
          <ac:graphicFrameMkLst>
            <pc:docMk/>
            <pc:sldMk cId="3308792200" sldId="2146846139"/>
            <ac:graphicFrameMk id="2" creationId="{90C4ECCF-9B28-475A-8668-643F413BD5F2}"/>
          </ac:graphicFrameMkLst>
        </pc:graphicFrameChg>
        <pc:graphicFrameChg chg="add mod modGraphic">
          <ac:chgData name="Katerine Schifino" userId="37bb67de-9fcf-4611-888c-7e5b58184a2a" providerId="ADAL" clId="{2595FEE5-B46C-4A48-9139-4FD42CC6AB31}" dt="2022-03-25T18:14:09.088" v="1600" actId="1076"/>
          <ac:graphicFrameMkLst>
            <pc:docMk/>
            <pc:sldMk cId="3308792200" sldId="2146846139"/>
            <ac:graphicFrameMk id="7" creationId="{C9AC83A0-A20D-4A6B-8729-5097ABD46F34}"/>
          </ac:graphicFrameMkLst>
        </pc:graphicFrameChg>
        <pc:picChg chg="add mod">
          <ac:chgData name="Katerine Schifino" userId="37bb67de-9fcf-4611-888c-7e5b58184a2a" providerId="ADAL" clId="{2595FEE5-B46C-4A48-9139-4FD42CC6AB31}" dt="2022-03-25T18:14:09.088" v="1600" actId="1076"/>
          <ac:picMkLst>
            <pc:docMk/>
            <pc:sldMk cId="3308792200" sldId="2146846139"/>
            <ac:picMk id="8" creationId="{75EB8263-EF49-4F0B-A650-51E58D99C9DD}"/>
          </ac:picMkLst>
        </pc:picChg>
      </pc:sldChg>
      <pc:sldChg chg="addSp delSp modSp add mod modNotesTx">
        <pc:chgData name="Katerine Schifino" userId="37bb67de-9fcf-4611-888c-7e5b58184a2a" providerId="ADAL" clId="{2595FEE5-B46C-4A48-9139-4FD42CC6AB31}" dt="2022-03-25T20:21:59.653" v="6135" actId="20577"/>
        <pc:sldMkLst>
          <pc:docMk/>
          <pc:sldMk cId="2318814632" sldId="2146846140"/>
        </pc:sldMkLst>
        <pc:spChg chg="add mod">
          <ac:chgData name="Katerine Schifino" userId="37bb67de-9fcf-4611-888c-7e5b58184a2a" providerId="ADAL" clId="{2595FEE5-B46C-4A48-9139-4FD42CC6AB31}" dt="2022-03-25T18:31:05.220" v="3145" actId="14100"/>
          <ac:spMkLst>
            <pc:docMk/>
            <pc:sldMk cId="2318814632" sldId="2146846140"/>
            <ac:spMk id="2" creationId="{68EA5FB2-E061-4F05-8F80-5F71CF64B337}"/>
          </ac:spMkLst>
        </pc:spChg>
        <pc:spChg chg="del">
          <ac:chgData name="Katerine Schifino" userId="37bb67de-9fcf-4611-888c-7e5b58184a2a" providerId="ADAL" clId="{2595FEE5-B46C-4A48-9139-4FD42CC6AB31}" dt="2022-03-25T18:14:23.008" v="1602" actId="478"/>
          <ac:spMkLst>
            <pc:docMk/>
            <pc:sldMk cId="2318814632" sldId="2146846140"/>
            <ac:spMk id="5" creationId="{A807FA6B-29BF-428C-875A-43AB91CF3674}"/>
          </ac:spMkLst>
        </pc:spChg>
        <pc:spChg chg="del mod">
          <ac:chgData name="Katerine Schifino" userId="37bb67de-9fcf-4611-888c-7e5b58184a2a" providerId="ADAL" clId="{2595FEE5-B46C-4A48-9139-4FD42CC6AB31}" dt="2022-03-25T18:14:39.273" v="1647"/>
          <ac:spMkLst>
            <pc:docMk/>
            <pc:sldMk cId="2318814632" sldId="2146846140"/>
            <ac:spMk id="9" creationId="{C46E46B2-8DA6-4180-BE6E-D6D94C9C18D5}"/>
          </ac:spMkLst>
        </pc:spChg>
        <pc:spChg chg="del mod">
          <ac:chgData name="Katerine Schifino" userId="37bb67de-9fcf-4611-888c-7e5b58184a2a" providerId="ADAL" clId="{2595FEE5-B46C-4A48-9139-4FD42CC6AB31}" dt="2022-03-25T18:14:28.131" v="1604" actId="478"/>
          <ac:spMkLst>
            <pc:docMk/>
            <pc:sldMk cId="2318814632" sldId="2146846140"/>
            <ac:spMk id="10" creationId="{BD334509-8071-4DDA-8AA5-4A11F7D38E21}"/>
          </ac:spMkLst>
        </pc:spChg>
        <pc:spChg chg="add mod">
          <ac:chgData name="Katerine Schifino" userId="37bb67de-9fcf-4611-888c-7e5b58184a2a" providerId="ADAL" clId="{2595FEE5-B46C-4A48-9139-4FD42CC6AB31}" dt="2022-03-25T18:32:15" v="3202" actId="113"/>
          <ac:spMkLst>
            <pc:docMk/>
            <pc:sldMk cId="2318814632" sldId="2146846140"/>
            <ac:spMk id="11" creationId="{4E24824E-F86D-4BF1-A73F-457CD5F4A18D}"/>
          </ac:spMkLst>
        </pc:spChg>
        <pc:spChg chg="add mod">
          <ac:chgData name="Katerine Schifino" userId="37bb67de-9fcf-4611-888c-7e5b58184a2a" providerId="ADAL" clId="{2595FEE5-B46C-4A48-9139-4FD42CC6AB31}" dt="2022-03-25T18:19:45.259" v="2324" actId="1076"/>
          <ac:spMkLst>
            <pc:docMk/>
            <pc:sldMk cId="2318814632" sldId="2146846140"/>
            <ac:spMk id="12" creationId="{CFF70544-672F-42EA-B13B-30140B1916E6}"/>
          </ac:spMkLst>
        </pc:spChg>
        <pc:graphicFrameChg chg="del">
          <ac:chgData name="Katerine Schifino" userId="37bb67de-9fcf-4611-888c-7e5b58184a2a" providerId="ADAL" clId="{2595FEE5-B46C-4A48-9139-4FD42CC6AB31}" dt="2022-03-25T18:14:23.008" v="1602" actId="478"/>
          <ac:graphicFrameMkLst>
            <pc:docMk/>
            <pc:sldMk cId="2318814632" sldId="2146846140"/>
            <ac:graphicFrameMk id="7" creationId="{C9AC83A0-A20D-4A6B-8729-5097ABD46F34}"/>
          </ac:graphicFrameMkLst>
        </pc:graphicFrameChg>
        <pc:picChg chg="add mod">
          <ac:chgData name="Katerine Schifino" userId="37bb67de-9fcf-4611-888c-7e5b58184a2a" providerId="ADAL" clId="{2595FEE5-B46C-4A48-9139-4FD42CC6AB31}" dt="2022-03-25T18:31:06.872" v="3146" actId="1076"/>
          <ac:picMkLst>
            <pc:docMk/>
            <pc:sldMk cId="2318814632" sldId="2146846140"/>
            <ac:picMk id="4" creationId="{FE185935-83F9-42E2-BE95-6DF020A0FF0E}"/>
          </ac:picMkLst>
        </pc:picChg>
        <pc:picChg chg="del">
          <ac:chgData name="Katerine Schifino" userId="37bb67de-9fcf-4611-888c-7e5b58184a2a" providerId="ADAL" clId="{2595FEE5-B46C-4A48-9139-4FD42CC6AB31}" dt="2022-03-25T18:14:23.008" v="1602" actId="478"/>
          <ac:picMkLst>
            <pc:docMk/>
            <pc:sldMk cId="2318814632" sldId="2146846140"/>
            <ac:picMk id="8" creationId="{75EB8263-EF49-4F0B-A650-51E58D99C9DD}"/>
          </ac:picMkLst>
        </pc:picChg>
      </pc:sldChg>
      <pc:sldChg chg="del">
        <pc:chgData name="Katerine Schifino" userId="37bb67de-9fcf-4611-888c-7e5b58184a2a" providerId="ADAL" clId="{2595FEE5-B46C-4A48-9139-4FD42CC6AB31}" dt="2022-03-25T17:52:30.760" v="5" actId="47"/>
        <pc:sldMkLst>
          <pc:docMk/>
          <pc:sldMk cId="3798208685" sldId="2146846140"/>
        </pc:sldMkLst>
      </pc:sldChg>
      <pc:sldChg chg="del">
        <pc:chgData name="Katerine Schifino" userId="37bb67de-9fcf-4611-888c-7e5b58184a2a" providerId="ADAL" clId="{2595FEE5-B46C-4A48-9139-4FD42CC6AB31}" dt="2022-03-25T17:52:39.305" v="13" actId="47"/>
        <pc:sldMkLst>
          <pc:docMk/>
          <pc:sldMk cId="1563887758" sldId="2146846141"/>
        </pc:sldMkLst>
      </pc:sldChg>
      <pc:sldChg chg="addSp delSp modSp add mod modNotesTx">
        <pc:chgData name="Katerine Schifino" userId="37bb67de-9fcf-4611-888c-7e5b58184a2a" providerId="ADAL" clId="{2595FEE5-B46C-4A48-9139-4FD42CC6AB31}" dt="2022-03-25T20:21:49.933" v="6131" actId="20577"/>
        <pc:sldMkLst>
          <pc:docMk/>
          <pc:sldMk cId="3494044939" sldId="2146846141"/>
        </pc:sldMkLst>
        <pc:spChg chg="del">
          <ac:chgData name="Katerine Schifino" userId="37bb67de-9fcf-4611-888c-7e5b58184a2a" providerId="ADAL" clId="{2595FEE5-B46C-4A48-9139-4FD42CC6AB31}" dt="2022-03-25T18:35:01.130" v="3340" actId="478"/>
          <ac:spMkLst>
            <pc:docMk/>
            <pc:sldMk cId="3494044939" sldId="2146846141"/>
            <ac:spMk id="2" creationId="{68EA5FB2-E061-4F05-8F80-5F71CF64B337}"/>
          </ac:spMkLst>
        </pc:spChg>
        <pc:spChg chg="mod">
          <ac:chgData name="Katerine Schifino" userId="37bb67de-9fcf-4611-888c-7e5b58184a2a" providerId="ADAL" clId="{2595FEE5-B46C-4A48-9139-4FD42CC6AB31}" dt="2022-03-25T18:42:18.553" v="4078" actId="20577"/>
          <ac:spMkLst>
            <pc:docMk/>
            <pc:sldMk cId="3494044939" sldId="2146846141"/>
            <ac:spMk id="6" creationId="{C3E24BFF-A0DB-4ECE-96D3-5EAB937B7323}"/>
          </ac:spMkLst>
        </pc:spChg>
        <pc:spChg chg="add mod">
          <ac:chgData name="Katerine Schifino" userId="37bb67de-9fcf-4611-888c-7e5b58184a2a" providerId="ADAL" clId="{2595FEE5-B46C-4A48-9139-4FD42CC6AB31}" dt="2022-03-25T19:04:46.457" v="4694" actId="20577"/>
          <ac:spMkLst>
            <pc:docMk/>
            <pc:sldMk cId="3494044939" sldId="2146846141"/>
            <ac:spMk id="10" creationId="{11F68A45-4F33-493E-930F-2B9C2E4FDB2F}"/>
          </ac:spMkLst>
        </pc:spChg>
        <pc:spChg chg="mod">
          <ac:chgData name="Katerine Schifino" userId="37bb67de-9fcf-4611-888c-7e5b58184a2a" providerId="ADAL" clId="{2595FEE5-B46C-4A48-9139-4FD42CC6AB31}" dt="2022-03-25T19:03:08.068" v="4512" actId="13926"/>
          <ac:spMkLst>
            <pc:docMk/>
            <pc:sldMk cId="3494044939" sldId="2146846141"/>
            <ac:spMk id="11" creationId="{4E24824E-F86D-4BF1-A73F-457CD5F4A18D}"/>
          </ac:spMkLst>
        </pc:spChg>
        <pc:spChg chg="del">
          <ac:chgData name="Katerine Schifino" userId="37bb67de-9fcf-4611-888c-7e5b58184a2a" providerId="ADAL" clId="{2595FEE5-B46C-4A48-9139-4FD42CC6AB31}" dt="2022-03-25T18:34:59.099" v="3339" actId="478"/>
          <ac:spMkLst>
            <pc:docMk/>
            <pc:sldMk cId="3494044939" sldId="2146846141"/>
            <ac:spMk id="12" creationId="{CFF70544-672F-42EA-B13B-30140B1916E6}"/>
          </ac:spMkLst>
        </pc:spChg>
        <pc:spChg chg="add mod">
          <ac:chgData name="Katerine Schifino" userId="37bb67de-9fcf-4611-888c-7e5b58184a2a" providerId="ADAL" clId="{2595FEE5-B46C-4A48-9139-4FD42CC6AB31}" dt="2022-03-25T19:02:45.495" v="4509" actId="164"/>
          <ac:spMkLst>
            <pc:docMk/>
            <pc:sldMk cId="3494044939" sldId="2146846141"/>
            <ac:spMk id="14" creationId="{74272CE6-B3F4-4F41-96D6-57086329087A}"/>
          </ac:spMkLst>
        </pc:spChg>
        <pc:spChg chg="add mod">
          <ac:chgData name="Katerine Schifino" userId="37bb67de-9fcf-4611-888c-7e5b58184a2a" providerId="ADAL" clId="{2595FEE5-B46C-4A48-9139-4FD42CC6AB31}" dt="2022-03-25T19:02:45.495" v="4509" actId="164"/>
          <ac:spMkLst>
            <pc:docMk/>
            <pc:sldMk cId="3494044939" sldId="2146846141"/>
            <ac:spMk id="15" creationId="{6C0EACEB-9EF2-4666-A737-BC52BAD95CB1}"/>
          </ac:spMkLst>
        </pc:spChg>
        <pc:spChg chg="add mod">
          <ac:chgData name="Katerine Schifino" userId="37bb67de-9fcf-4611-888c-7e5b58184a2a" providerId="ADAL" clId="{2595FEE5-B46C-4A48-9139-4FD42CC6AB31}" dt="2022-03-25T19:07:57.442" v="5038" actId="1076"/>
          <ac:spMkLst>
            <pc:docMk/>
            <pc:sldMk cId="3494044939" sldId="2146846141"/>
            <ac:spMk id="16" creationId="{0363F5E5-3982-41A4-BC17-54B86909FA7E}"/>
          </ac:spMkLst>
        </pc:spChg>
        <pc:grpChg chg="add mod">
          <ac:chgData name="Katerine Schifino" userId="37bb67de-9fcf-4611-888c-7e5b58184a2a" providerId="ADAL" clId="{2595FEE5-B46C-4A48-9139-4FD42CC6AB31}" dt="2022-03-25T19:04:42.499" v="4693" actId="1076"/>
          <ac:grpSpMkLst>
            <pc:docMk/>
            <pc:sldMk cId="3494044939" sldId="2146846141"/>
            <ac:grpSpMk id="8" creationId="{6BA275C3-9BFC-4181-98E8-C896A8C8A69D}"/>
          </ac:grpSpMkLst>
        </pc:grpChg>
        <pc:picChg chg="del">
          <ac:chgData name="Katerine Schifino" userId="37bb67de-9fcf-4611-888c-7e5b58184a2a" providerId="ADAL" clId="{2595FEE5-B46C-4A48-9139-4FD42CC6AB31}" dt="2022-03-25T18:35:01.130" v="3340" actId="478"/>
          <ac:picMkLst>
            <pc:docMk/>
            <pc:sldMk cId="3494044939" sldId="2146846141"/>
            <ac:picMk id="4" creationId="{FE185935-83F9-42E2-BE95-6DF020A0FF0E}"/>
          </ac:picMkLst>
        </pc:picChg>
        <pc:picChg chg="add mod">
          <ac:chgData name="Katerine Schifino" userId="37bb67de-9fcf-4611-888c-7e5b58184a2a" providerId="ADAL" clId="{2595FEE5-B46C-4A48-9139-4FD42CC6AB31}" dt="2022-03-25T19:02:45.495" v="4509" actId="164"/>
          <ac:picMkLst>
            <pc:docMk/>
            <pc:sldMk cId="3494044939" sldId="2146846141"/>
            <ac:picMk id="5" creationId="{D8584571-045A-4EF6-912C-2F02A7C91F65}"/>
          </ac:picMkLst>
        </pc:picChg>
        <pc:picChg chg="add del mod">
          <ac:chgData name="Katerine Schifino" userId="37bb67de-9fcf-4611-888c-7e5b58184a2a" providerId="ADAL" clId="{2595FEE5-B46C-4A48-9139-4FD42CC6AB31}" dt="2022-03-25T19:02:10.783" v="4496" actId="478"/>
          <ac:picMkLst>
            <pc:docMk/>
            <pc:sldMk cId="3494044939" sldId="2146846141"/>
            <ac:picMk id="13" creationId="{3B647DE0-E7D1-46D1-B025-C221E4FD4304}"/>
          </ac:picMkLst>
        </pc:picChg>
      </pc:sldChg>
      <pc:sldChg chg="del">
        <pc:chgData name="Katerine Schifino" userId="37bb67de-9fcf-4611-888c-7e5b58184a2a" providerId="ADAL" clId="{2595FEE5-B46C-4A48-9139-4FD42CC6AB31}" dt="2022-03-25T17:52:44.231" v="19" actId="47"/>
        <pc:sldMkLst>
          <pc:docMk/>
          <pc:sldMk cId="2686842604" sldId="2146846142"/>
        </pc:sldMkLst>
      </pc:sldChg>
      <pc:sldChg chg="addSp delSp modSp add mod modNotesTx">
        <pc:chgData name="Katerine Schifino" userId="37bb67de-9fcf-4611-888c-7e5b58184a2a" providerId="ADAL" clId="{2595FEE5-B46C-4A48-9139-4FD42CC6AB31}" dt="2022-03-25T20:21:47.881" v="6130" actId="20577"/>
        <pc:sldMkLst>
          <pc:docMk/>
          <pc:sldMk cId="4215550961" sldId="2146846142"/>
        </pc:sldMkLst>
        <pc:spChg chg="del mod">
          <ac:chgData name="Katerine Schifino" userId="37bb67de-9fcf-4611-888c-7e5b58184a2a" providerId="ADAL" clId="{2595FEE5-B46C-4A48-9139-4FD42CC6AB31}" dt="2022-03-25T19:08:46.431" v="5045" actId="478"/>
          <ac:spMkLst>
            <pc:docMk/>
            <pc:sldMk cId="4215550961" sldId="2146846142"/>
            <ac:spMk id="6" creationId="{C3E24BFF-A0DB-4ECE-96D3-5EAB937B7323}"/>
          </ac:spMkLst>
        </pc:spChg>
        <pc:spChg chg="del">
          <ac:chgData name="Katerine Schifino" userId="37bb67de-9fcf-4611-888c-7e5b58184a2a" providerId="ADAL" clId="{2595FEE5-B46C-4A48-9139-4FD42CC6AB31}" dt="2022-03-25T19:08:38.498" v="5043" actId="478"/>
          <ac:spMkLst>
            <pc:docMk/>
            <pc:sldMk cId="4215550961" sldId="2146846142"/>
            <ac:spMk id="10" creationId="{11F68A45-4F33-493E-930F-2B9C2E4FDB2F}"/>
          </ac:spMkLst>
        </pc:spChg>
        <pc:spChg chg="del">
          <ac:chgData name="Katerine Schifino" userId="37bb67de-9fcf-4611-888c-7e5b58184a2a" providerId="ADAL" clId="{2595FEE5-B46C-4A48-9139-4FD42CC6AB31}" dt="2022-03-25T19:08:49.780" v="5046" actId="478"/>
          <ac:spMkLst>
            <pc:docMk/>
            <pc:sldMk cId="4215550961" sldId="2146846142"/>
            <ac:spMk id="11" creationId="{4E24824E-F86D-4BF1-A73F-457CD5F4A18D}"/>
          </ac:spMkLst>
        </pc:spChg>
        <pc:spChg chg="del">
          <ac:chgData name="Katerine Schifino" userId="37bb67de-9fcf-4611-888c-7e5b58184a2a" providerId="ADAL" clId="{2595FEE5-B46C-4A48-9139-4FD42CC6AB31}" dt="2022-03-25T19:08:38.498" v="5043" actId="478"/>
          <ac:spMkLst>
            <pc:docMk/>
            <pc:sldMk cId="4215550961" sldId="2146846142"/>
            <ac:spMk id="16" creationId="{0363F5E5-3982-41A4-BC17-54B86909FA7E}"/>
          </ac:spMkLst>
        </pc:spChg>
        <pc:grpChg chg="del">
          <ac:chgData name="Katerine Schifino" userId="37bb67de-9fcf-4611-888c-7e5b58184a2a" providerId="ADAL" clId="{2595FEE5-B46C-4A48-9139-4FD42CC6AB31}" dt="2022-03-25T19:08:38.498" v="5043" actId="478"/>
          <ac:grpSpMkLst>
            <pc:docMk/>
            <pc:sldMk cId="4215550961" sldId="2146846142"/>
            <ac:grpSpMk id="8" creationId="{6BA275C3-9BFC-4181-98E8-C896A8C8A69D}"/>
          </ac:grpSpMkLst>
        </pc:grpChg>
        <pc:graphicFrameChg chg="add mod modGraphic">
          <ac:chgData name="Katerine Schifino" userId="37bb67de-9fcf-4611-888c-7e5b58184a2a" providerId="ADAL" clId="{2595FEE5-B46C-4A48-9139-4FD42CC6AB31}" dt="2022-03-25T20:21:41.891" v="6129" actId="6549"/>
          <ac:graphicFrameMkLst>
            <pc:docMk/>
            <pc:sldMk cId="4215550961" sldId="2146846142"/>
            <ac:graphicFrameMk id="12" creationId="{2D8E720F-6750-4EC4-A661-2F27B7876BBF}"/>
          </ac:graphicFrameMkLst>
        </pc:graphicFrame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23E4BD6-E97A-46A4-AA30-568852B539BE}"/>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ES_tradnl"/>
          </a:p>
        </p:txBody>
      </p:sp>
      <p:sp>
        <p:nvSpPr>
          <p:cNvPr id="3" name="Date Placeholder 2">
            <a:extLst>
              <a:ext uri="{FF2B5EF4-FFF2-40B4-BE49-F238E27FC236}">
                <a16:creationId xmlns:a16="http://schemas.microsoft.com/office/drawing/2014/main" id="{58774AE6-0DA8-408F-8134-DDABC2EE87C9}"/>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6287E9E-D2F8-4C1C-BC9F-E2CABAE66FE1}" type="datetimeFigureOut">
              <a:rPr lang="es-ES_tradnl" smtClean="0"/>
              <a:t>25/03/2022</a:t>
            </a:fld>
            <a:endParaRPr lang="es-ES_tradnl"/>
          </a:p>
        </p:txBody>
      </p:sp>
      <p:sp>
        <p:nvSpPr>
          <p:cNvPr id="4" name="Footer Placeholder 3">
            <a:extLst>
              <a:ext uri="{FF2B5EF4-FFF2-40B4-BE49-F238E27FC236}">
                <a16:creationId xmlns:a16="http://schemas.microsoft.com/office/drawing/2014/main" id="{1BDC6ADC-9CF6-47F3-86B4-4F7930AEF629}"/>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s-ES_tradnl"/>
          </a:p>
        </p:txBody>
      </p:sp>
      <p:sp>
        <p:nvSpPr>
          <p:cNvPr id="5" name="Slide Number Placeholder 4">
            <a:extLst>
              <a:ext uri="{FF2B5EF4-FFF2-40B4-BE49-F238E27FC236}">
                <a16:creationId xmlns:a16="http://schemas.microsoft.com/office/drawing/2014/main" id="{EF5CB9E5-1AC4-4BEF-9A42-4B32FD446B4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3A63E78-60CA-441E-BA25-D241C8EDB6AE}" type="slidenum">
              <a:rPr lang="es-ES_tradnl" smtClean="0"/>
              <a:t>‹#›</a:t>
            </a:fld>
            <a:endParaRPr lang="es-ES_tradnl"/>
          </a:p>
        </p:txBody>
      </p:sp>
    </p:spTree>
    <p:extLst>
      <p:ext uri="{BB962C8B-B14F-4D97-AF65-F5344CB8AC3E}">
        <p14:creationId xmlns:p14="http://schemas.microsoft.com/office/powerpoint/2010/main" val="355763156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MX"/>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0D72FAD-8778-405C-8921-79F3C25589D4}" type="datetimeFigureOut">
              <a:rPr lang="es-MX" smtClean="0"/>
              <a:t>25/03/2022</a:t>
            </a:fld>
            <a:endParaRPr lang="es-MX"/>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MX"/>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MX"/>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MX"/>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B325E69-1CAA-46A9-A4D5-F2855D38AA5E}" type="slidenum">
              <a:rPr lang="es-MX" smtClean="0"/>
              <a:t>‹#›</a:t>
            </a:fld>
            <a:endParaRPr lang="es-MX"/>
          </a:p>
        </p:txBody>
      </p:sp>
    </p:spTree>
    <p:extLst>
      <p:ext uri="{BB962C8B-B14F-4D97-AF65-F5344CB8AC3E}">
        <p14:creationId xmlns:p14="http://schemas.microsoft.com/office/powerpoint/2010/main" val="385930685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419"/>
          </a:p>
        </p:txBody>
      </p:sp>
      <p:sp>
        <p:nvSpPr>
          <p:cNvPr id="4" name="Marcador de número de diapositiva 3"/>
          <p:cNvSpPr>
            <a:spLocks noGrp="1"/>
          </p:cNvSpPr>
          <p:nvPr>
            <p:ph type="sldNum" sz="quarter" idx="5"/>
          </p:nvPr>
        </p:nvSpPr>
        <p:spPr/>
        <p:txBody>
          <a:bodyPr/>
          <a:lstStyle/>
          <a:p>
            <a:fld id="{0650A416-AD79-4A78-B265-0B969D69B126}" type="slidenum">
              <a:rPr lang="es-419" smtClean="0"/>
              <a:t>1</a:t>
            </a:fld>
            <a:endParaRPr lang="es-419"/>
          </a:p>
        </p:txBody>
      </p:sp>
    </p:spTree>
    <p:extLst>
      <p:ext uri="{BB962C8B-B14F-4D97-AF65-F5344CB8AC3E}">
        <p14:creationId xmlns:p14="http://schemas.microsoft.com/office/powerpoint/2010/main" val="14227070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CO" dirty="0"/>
          </a:p>
        </p:txBody>
      </p:sp>
      <p:sp>
        <p:nvSpPr>
          <p:cNvPr id="4" name="Slide Number Placeholder 3"/>
          <p:cNvSpPr>
            <a:spLocks noGrp="1"/>
          </p:cNvSpPr>
          <p:nvPr>
            <p:ph type="sldNum" sz="quarter" idx="5"/>
          </p:nvPr>
        </p:nvSpPr>
        <p:spPr/>
        <p:txBody>
          <a:bodyPr/>
          <a:lstStyle/>
          <a:p>
            <a:fld id="{BB325E69-1CAA-46A9-A4D5-F2855D38AA5E}" type="slidenum">
              <a:rPr lang="es-MX" smtClean="0"/>
              <a:t>2</a:t>
            </a:fld>
            <a:endParaRPr lang="es-MX"/>
          </a:p>
        </p:txBody>
      </p:sp>
    </p:spTree>
    <p:extLst>
      <p:ext uri="{BB962C8B-B14F-4D97-AF65-F5344CB8AC3E}">
        <p14:creationId xmlns:p14="http://schemas.microsoft.com/office/powerpoint/2010/main" val="12244349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CO" dirty="0"/>
          </a:p>
        </p:txBody>
      </p:sp>
      <p:sp>
        <p:nvSpPr>
          <p:cNvPr id="4" name="Slide Number Placeholder 3"/>
          <p:cNvSpPr>
            <a:spLocks noGrp="1"/>
          </p:cNvSpPr>
          <p:nvPr>
            <p:ph type="sldNum" sz="quarter" idx="5"/>
          </p:nvPr>
        </p:nvSpPr>
        <p:spPr/>
        <p:txBody>
          <a:bodyPr/>
          <a:lstStyle/>
          <a:p>
            <a:fld id="{BB325E69-1CAA-46A9-A4D5-F2855D38AA5E}" type="slidenum">
              <a:rPr lang="es-MX" smtClean="0"/>
              <a:t>3</a:t>
            </a:fld>
            <a:endParaRPr lang="es-MX"/>
          </a:p>
        </p:txBody>
      </p:sp>
    </p:spTree>
    <p:extLst>
      <p:ext uri="{BB962C8B-B14F-4D97-AF65-F5344CB8AC3E}">
        <p14:creationId xmlns:p14="http://schemas.microsoft.com/office/powerpoint/2010/main" val="10449718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CO" dirty="0"/>
          </a:p>
        </p:txBody>
      </p:sp>
      <p:sp>
        <p:nvSpPr>
          <p:cNvPr id="4" name="Slide Number Placeholder 3"/>
          <p:cNvSpPr>
            <a:spLocks noGrp="1"/>
          </p:cNvSpPr>
          <p:nvPr>
            <p:ph type="sldNum" sz="quarter" idx="5"/>
          </p:nvPr>
        </p:nvSpPr>
        <p:spPr/>
        <p:txBody>
          <a:bodyPr/>
          <a:lstStyle/>
          <a:p>
            <a:fld id="{BB325E69-1CAA-46A9-A4D5-F2855D38AA5E}" type="slidenum">
              <a:rPr lang="es-MX" smtClean="0"/>
              <a:t>4</a:t>
            </a:fld>
            <a:endParaRPr lang="es-MX"/>
          </a:p>
        </p:txBody>
      </p:sp>
    </p:spTree>
    <p:extLst>
      <p:ext uri="{BB962C8B-B14F-4D97-AF65-F5344CB8AC3E}">
        <p14:creationId xmlns:p14="http://schemas.microsoft.com/office/powerpoint/2010/main" val="27443856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CO" dirty="0"/>
          </a:p>
        </p:txBody>
      </p:sp>
      <p:sp>
        <p:nvSpPr>
          <p:cNvPr id="4" name="Slide Number Placeholder 3"/>
          <p:cNvSpPr>
            <a:spLocks noGrp="1"/>
          </p:cNvSpPr>
          <p:nvPr>
            <p:ph type="sldNum" sz="quarter" idx="5"/>
          </p:nvPr>
        </p:nvSpPr>
        <p:spPr/>
        <p:txBody>
          <a:bodyPr/>
          <a:lstStyle/>
          <a:p>
            <a:fld id="{BB325E69-1CAA-46A9-A4D5-F2855D38AA5E}" type="slidenum">
              <a:rPr lang="es-MX" smtClean="0"/>
              <a:t>5</a:t>
            </a:fld>
            <a:endParaRPr lang="es-MX"/>
          </a:p>
        </p:txBody>
      </p:sp>
    </p:spTree>
    <p:extLst>
      <p:ext uri="{BB962C8B-B14F-4D97-AF65-F5344CB8AC3E}">
        <p14:creationId xmlns:p14="http://schemas.microsoft.com/office/powerpoint/2010/main" val="427761121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CO" dirty="0"/>
          </a:p>
        </p:txBody>
      </p:sp>
      <p:sp>
        <p:nvSpPr>
          <p:cNvPr id="4" name="Slide Number Placeholder 3"/>
          <p:cNvSpPr>
            <a:spLocks noGrp="1"/>
          </p:cNvSpPr>
          <p:nvPr>
            <p:ph type="sldNum" sz="quarter" idx="5"/>
          </p:nvPr>
        </p:nvSpPr>
        <p:spPr/>
        <p:txBody>
          <a:bodyPr/>
          <a:lstStyle/>
          <a:p>
            <a:fld id="{BB325E69-1CAA-46A9-A4D5-F2855D38AA5E}" type="slidenum">
              <a:rPr lang="es-MX" smtClean="0"/>
              <a:t>6</a:t>
            </a:fld>
            <a:endParaRPr lang="es-MX"/>
          </a:p>
        </p:txBody>
      </p:sp>
    </p:spTree>
    <p:extLst>
      <p:ext uri="{BB962C8B-B14F-4D97-AF65-F5344CB8AC3E}">
        <p14:creationId xmlns:p14="http://schemas.microsoft.com/office/powerpoint/2010/main" val="52270828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CO" dirty="0"/>
          </a:p>
        </p:txBody>
      </p:sp>
      <p:sp>
        <p:nvSpPr>
          <p:cNvPr id="4" name="Slide Number Placeholder 3"/>
          <p:cNvSpPr>
            <a:spLocks noGrp="1"/>
          </p:cNvSpPr>
          <p:nvPr>
            <p:ph type="sldNum" sz="quarter" idx="5"/>
          </p:nvPr>
        </p:nvSpPr>
        <p:spPr/>
        <p:txBody>
          <a:bodyPr/>
          <a:lstStyle/>
          <a:p>
            <a:fld id="{BB325E69-1CAA-46A9-A4D5-F2855D38AA5E}" type="slidenum">
              <a:rPr lang="es-MX" smtClean="0"/>
              <a:t>7</a:t>
            </a:fld>
            <a:endParaRPr lang="es-MX"/>
          </a:p>
        </p:txBody>
      </p:sp>
    </p:spTree>
    <p:extLst>
      <p:ext uri="{BB962C8B-B14F-4D97-AF65-F5344CB8AC3E}">
        <p14:creationId xmlns:p14="http://schemas.microsoft.com/office/powerpoint/2010/main" val="330513538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CO" dirty="0"/>
          </a:p>
        </p:txBody>
      </p:sp>
      <p:sp>
        <p:nvSpPr>
          <p:cNvPr id="4" name="Slide Number Placeholder 3"/>
          <p:cNvSpPr>
            <a:spLocks noGrp="1"/>
          </p:cNvSpPr>
          <p:nvPr>
            <p:ph type="sldNum" sz="quarter" idx="5"/>
          </p:nvPr>
        </p:nvSpPr>
        <p:spPr/>
        <p:txBody>
          <a:bodyPr/>
          <a:lstStyle/>
          <a:p>
            <a:fld id="{BB325E69-1CAA-46A9-A4D5-F2855D38AA5E}" type="slidenum">
              <a:rPr lang="es-MX" smtClean="0"/>
              <a:t>8</a:t>
            </a:fld>
            <a:endParaRPr lang="es-MX"/>
          </a:p>
        </p:txBody>
      </p:sp>
    </p:spTree>
    <p:extLst>
      <p:ext uri="{BB962C8B-B14F-4D97-AF65-F5344CB8AC3E}">
        <p14:creationId xmlns:p14="http://schemas.microsoft.com/office/powerpoint/2010/main" val="202709296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CO" dirty="0"/>
          </a:p>
        </p:txBody>
      </p:sp>
      <p:sp>
        <p:nvSpPr>
          <p:cNvPr id="4" name="Slide Number Placeholder 3"/>
          <p:cNvSpPr>
            <a:spLocks noGrp="1"/>
          </p:cNvSpPr>
          <p:nvPr>
            <p:ph type="sldNum" sz="quarter" idx="5"/>
          </p:nvPr>
        </p:nvSpPr>
        <p:spPr/>
        <p:txBody>
          <a:bodyPr/>
          <a:lstStyle/>
          <a:p>
            <a:fld id="{BB325E69-1CAA-46A9-A4D5-F2855D38AA5E}" type="slidenum">
              <a:rPr lang="es-MX" smtClean="0"/>
              <a:t>9</a:t>
            </a:fld>
            <a:endParaRPr lang="es-MX"/>
          </a:p>
        </p:txBody>
      </p:sp>
    </p:spTree>
    <p:extLst>
      <p:ext uri="{BB962C8B-B14F-4D97-AF65-F5344CB8AC3E}">
        <p14:creationId xmlns:p14="http://schemas.microsoft.com/office/powerpoint/2010/main" val="369322473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6.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3.jpeg"/></Relationships>
</file>

<file path=ppt/slideLayouts/_rels/slideLayout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8_Standard sli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81F21DB-5843-46A9-879C-3A5E8A7D9224}"/>
              </a:ext>
            </a:extLst>
          </p:cNvPr>
          <p:cNvGraphicFramePr>
            <a:graphicFrameLocks noChangeAspect="1"/>
          </p:cNvGraphicFramePr>
          <p:nvPr userDrawn="1">
            <p:custDataLst>
              <p:tags r:id="rId1"/>
            </p:custDataLst>
            <p:extLst>
              <p:ext uri="{D42A27DB-BD31-4B8C-83A1-F6EECF244321}">
                <p14:modId xmlns:p14="http://schemas.microsoft.com/office/powerpoint/2010/main" val="11144282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7" name="Object 6" hidden="1">
                        <a:extLst>
                          <a:ext uri="{FF2B5EF4-FFF2-40B4-BE49-F238E27FC236}">
                            <a16:creationId xmlns:a16="http://schemas.microsoft.com/office/drawing/2014/main" id="{381F21DB-5843-46A9-879C-3A5E8A7D922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F176DC3-498F-4458-81DC-BF5F57B40C46}"/>
              </a:ext>
            </a:extLst>
          </p:cNvPr>
          <p:cNvSpPr/>
          <p:nvPr userDrawn="1">
            <p:custDataLst>
              <p:tags r:id="rId2"/>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ctr"/>
            <a:endParaRPr lang="en-US" sz="3200" b="0" i="0" baseline="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p:cNvSpPr>
            <a:spLocks noGrp="1"/>
          </p:cNvSpPr>
          <p:nvPr>
            <p:ph type="title" hasCustomPrompt="1"/>
          </p:nvPr>
        </p:nvSpPr>
        <p:spPr>
          <a:xfrm>
            <a:off x="609601" y="461840"/>
            <a:ext cx="10972800" cy="706698"/>
          </a:xfrm>
        </p:spPr>
        <p:txBody>
          <a:bodyPr anchor="b"/>
          <a:lstStyle>
            <a:lvl1pPr>
              <a:defRPr sz="3200">
                <a:solidFill>
                  <a:schemeClr val="bg1"/>
                </a:solidFill>
              </a:defRPr>
            </a:lvl1pPr>
          </a:lstStyle>
          <a:p>
            <a:r>
              <a:rPr lang="en-US"/>
              <a:t>Standard slide</a:t>
            </a:r>
            <a:endParaRPr lang="en-GB"/>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601" y="1273101"/>
            <a:ext cx="1800000" cy="0"/>
          </a:xfrm>
          <a:prstGeom prst="line">
            <a:avLst/>
          </a:prstGeom>
          <a:noFill/>
          <a:ln w="57150" cap="flat" cmpd="sng" algn="ctr">
            <a:solidFill>
              <a:srgbClr val="EA3A55"/>
            </a:solidFill>
            <a:prstDash val="solid"/>
            <a:round/>
            <a:headEnd type="none" w="med" len="med"/>
            <a:tailEnd type="none" w="med" len="me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Tree>
    <p:extLst>
      <p:ext uri="{BB962C8B-B14F-4D97-AF65-F5344CB8AC3E}">
        <p14:creationId xmlns:p14="http://schemas.microsoft.com/office/powerpoint/2010/main" val="375070480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3_ 0 All White">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id="{E4D16436-264F-4351-AD6B-1D2232DAB85C}"/>
              </a:ext>
            </a:extLst>
          </p:cNvPr>
          <p:cNvPicPr>
            <a:picLocks noChangeAspect="1"/>
          </p:cNvPicPr>
          <p:nvPr userDrawn="1"/>
        </p:nvPicPr>
        <p:blipFill>
          <a:blip r:embed="rId2">
            <a:duotone>
              <a:prstClr val="black"/>
              <a:srgbClr val="EA3A55">
                <a:tint val="45000"/>
                <a:satMod val="400000"/>
              </a:srgbClr>
            </a:duotone>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509884" y="141471"/>
            <a:ext cx="1502833" cy="376285"/>
          </a:xfrm>
          <a:prstGeom prst="rect">
            <a:avLst/>
          </a:prstGeom>
        </p:spPr>
      </p:pic>
      <p:pic>
        <p:nvPicPr>
          <p:cNvPr id="8" name="Picture 4">
            <a:extLst>
              <a:ext uri="{FF2B5EF4-FFF2-40B4-BE49-F238E27FC236}">
                <a16:creationId xmlns:a16="http://schemas.microsoft.com/office/drawing/2014/main" id="{B4EA689D-80F7-4CD1-B2F1-CAEA0F17213D}"/>
              </a:ext>
            </a:extLst>
          </p:cNvPr>
          <p:cNvPicPr>
            <a:picLocks noChangeAspect="1" noChangeArrowheads="1"/>
          </p:cNvPicPr>
          <p:nvPr userDrawn="1"/>
        </p:nvPicPr>
        <p:blipFill>
          <a:blip r:embed="rId4">
            <a:alphaModFix amt="4000"/>
            <a:extLst>
              <a:ext uri="{28A0092B-C50C-407E-A947-70E740481C1C}">
                <a14:useLocalDpi xmlns:a14="http://schemas.microsoft.com/office/drawing/2010/main" val="0"/>
              </a:ext>
            </a:extLst>
          </a:blip>
          <a:srcRect/>
          <a:stretch>
            <a:fillRect/>
          </a:stretch>
        </p:blipFill>
        <p:spPr bwMode="auto">
          <a:xfrm>
            <a:off x="3102544" y="0"/>
            <a:ext cx="4876800" cy="487680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4">
            <a:extLst>
              <a:ext uri="{FF2B5EF4-FFF2-40B4-BE49-F238E27FC236}">
                <a16:creationId xmlns:a16="http://schemas.microsoft.com/office/drawing/2014/main" id="{C76B4DBF-9FB2-49CD-9916-3E041CA5728D}"/>
              </a:ext>
            </a:extLst>
          </p:cNvPr>
          <p:cNvPicPr>
            <a:picLocks noChangeAspect="1" noChangeArrowheads="1"/>
          </p:cNvPicPr>
          <p:nvPr userDrawn="1"/>
        </p:nvPicPr>
        <p:blipFill rotWithShape="1">
          <a:blip r:embed="rId4">
            <a:alphaModFix amt="4000"/>
            <a:extLst>
              <a:ext uri="{28A0092B-C50C-407E-A947-70E740481C1C}">
                <a14:useLocalDpi xmlns:a14="http://schemas.microsoft.com/office/drawing/2010/main" val="0"/>
              </a:ext>
            </a:extLst>
          </a:blip>
          <a:srcRect l="29671"/>
          <a:stretch/>
        </p:blipFill>
        <p:spPr bwMode="auto">
          <a:xfrm>
            <a:off x="-1" y="0"/>
            <a:ext cx="3429803" cy="4876800"/>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4">
            <a:extLst>
              <a:ext uri="{FF2B5EF4-FFF2-40B4-BE49-F238E27FC236}">
                <a16:creationId xmlns:a16="http://schemas.microsoft.com/office/drawing/2014/main" id="{8373B186-8D07-4B83-86BE-C88123E30371}"/>
              </a:ext>
            </a:extLst>
          </p:cNvPr>
          <p:cNvPicPr>
            <a:picLocks noChangeAspect="1" noChangeArrowheads="1"/>
          </p:cNvPicPr>
          <p:nvPr userDrawn="1"/>
        </p:nvPicPr>
        <p:blipFill rotWithShape="1">
          <a:blip r:embed="rId4">
            <a:alphaModFix amt="4000"/>
            <a:extLst>
              <a:ext uri="{28A0092B-C50C-407E-A947-70E740481C1C}">
                <a14:useLocalDpi xmlns:a14="http://schemas.microsoft.com/office/drawing/2010/main" val="0"/>
              </a:ext>
            </a:extLst>
          </a:blip>
          <a:srcRect r="13619"/>
          <a:stretch/>
        </p:blipFill>
        <p:spPr bwMode="auto">
          <a:xfrm>
            <a:off x="7979344" y="0"/>
            <a:ext cx="4212656" cy="487680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4">
            <a:extLst>
              <a:ext uri="{FF2B5EF4-FFF2-40B4-BE49-F238E27FC236}">
                <a16:creationId xmlns:a16="http://schemas.microsoft.com/office/drawing/2014/main" id="{8D6260DF-65BA-4B8E-93B3-CC06118EA2D9}"/>
              </a:ext>
            </a:extLst>
          </p:cNvPr>
          <p:cNvPicPr>
            <a:picLocks noChangeAspect="1" noChangeArrowheads="1"/>
          </p:cNvPicPr>
          <p:nvPr userDrawn="1"/>
        </p:nvPicPr>
        <p:blipFill rotWithShape="1">
          <a:blip r:embed="rId4">
            <a:alphaModFix amt="4000"/>
            <a:extLst>
              <a:ext uri="{28A0092B-C50C-407E-A947-70E740481C1C}">
                <a14:useLocalDpi xmlns:a14="http://schemas.microsoft.com/office/drawing/2010/main" val="0"/>
              </a:ext>
            </a:extLst>
          </a:blip>
          <a:srcRect b="55989"/>
          <a:stretch/>
        </p:blipFill>
        <p:spPr bwMode="auto">
          <a:xfrm>
            <a:off x="-1" y="4711700"/>
            <a:ext cx="4876800" cy="2146300"/>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4">
            <a:extLst>
              <a:ext uri="{FF2B5EF4-FFF2-40B4-BE49-F238E27FC236}">
                <a16:creationId xmlns:a16="http://schemas.microsoft.com/office/drawing/2014/main" id="{5B9A083B-30D6-405F-8D76-C6762C4D1BDA}"/>
              </a:ext>
            </a:extLst>
          </p:cNvPr>
          <p:cNvPicPr>
            <a:picLocks noChangeAspect="1" noChangeArrowheads="1"/>
          </p:cNvPicPr>
          <p:nvPr userDrawn="1"/>
        </p:nvPicPr>
        <p:blipFill rotWithShape="1">
          <a:blip r:embed="rId4">
            <a:alphaModFix amt="4000"/>
            <a:extLst>
              <a:ext uri="{28A0092B-C50C-407E-A947-70E740481C1C}">
                <a14:useLocalDpi xmlns:a14="http://schemas.microsoft.com/office/drawing/2010/main" val="0"/>
              </a:ext>
            </a:extLst>
          </a:blip>
          <a:srcRect l="535" t="41448" r="-535" b="14541"/>
          <a:stretch/>
        </p:blipFill>
        <p:spPr bwMode="auto">
          <a:xfrm>
            <a:off x="4876799" y="4876800"/>
            <a:ext cx="4876800" cy="21463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4">
            <a:extLst>
              <a:ext uri="{FF2B5EF4-FFF2-40B4-BE49-F238E27FC236}">
                <a16:creationId xmlns:a16="http://schemas.microsoft.com/office/drawing/2014/main" id="{0D8FEBFE-B555-4112-981D-BB471C6AA659}"/>
              </a:ext>
            </a:extLst>
          </p:cNvPr>
          <p:cNvPicPr>
            <a:picLocks noChangeAspect="1" noChangeArrowheads="1"/>
          </p:cNvPicPr>
          <p:nvPr userDrawn="1"/>
        </p:nvPicPr>
        <p:blipFill rotWithShape="1">
          <a:blip r:embed="rId4">
            <a:alphaModFix amt="4000"/>
            <a:extLst>
              <a:ext uri="{28A0092B-C50C-407E-A947-70E740481C1C}">
                <a14:useLocalDpi xmlns:a14="http://schemas.microsoft.com/office/drawing/2010/main" val="0"/>
              </a:ext>
            </a:extLst>
          </a:blip>
          <a:srcRect r="53059" b="55989"/>
          <a:stretch/>
        </p:blipFill>
        <p:spPr bwMode="auto">
          <a:xfrm>
            <a:off x="9902791" y="4711700"/>
            <a:ext cx="2289209" cy="21463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0139848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9_ 0 All White">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id="{89037011-340B-4BAD-A1B2-4E561233DAD4}"/>
              </a:ext>
            </a:extLst>
          </p:cNvPr>
          <p:cNvPicPr>
            <a:picLocks noChangeAspect="1"/>
          </p:cNvPicPr>
          <p:nvPr userDrawn="1"/>
        </p:nvPicPr>
        <p:blipFill>
          <a:blip r:embed="rId2">
            <a:duotone>
              <a:prstClr val="black"/>
              <a:srgbClr val="EA3A55">
                <a:tint val="45000"/>
                <a:satMod val="400000"/>
              </a:srgbClr>
            </a:duotone>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509884" y="141471"/>
            <a:ext cx="1502833" cy="376285"/>
          </a:xfrm>
          <a:prstGeom prst="rect">
            <a:avLst/>
          </a:prstGeom>
        </p:spPr>
      </p:pic>
    </p:spTree>
    <p:extLst>
      <p:ext uri="{BB962C8B-B14F-4D97-AF65-F5344CB8AC3E}">
        <p14:creationId xmlns:p14="http://schemas.microsoft.com/office/powerpoint/2010/main" val="275941048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2_ 0 All White">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id="{89037011-340B-4BAD-A1B2-4E561233DAD4}"/>
              </a:ext>
            </a:extLst>
          </p:cNvPr>
          <p:cNvPicPr>
            <a:picLocks noChangeAspect="1"/>
          </p:cNvPicPr>
          <p:nvPr userDrawn="1"/>
        </p:nvPicPr>
        <p:blipFill>
          <a:blip r:embed="rId2">
            <a:duotone>
              <a:prstClr val="black"/>
              <a:srgbClr val="EA3A55">
                <a:tint val="45000"/>
                <a:satMod val="400000"/>
              </a:srgbClr>
            </a:duotone>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509884" y="141471"/>
            <a:ext cx="1502833" cy="376285"/>
          </a:xfrm>
          <a:prstGeom prst="rect">
            <a:avLst/>
          </a:prstGeom>
        </p:spPr>
      </p:pic>
      <p:grpSp>
        <p:nvGrpSpPr>
          <p:cNvPr id="2" name="Group 1">
            <a:extLst>
              <a:ext uri="{FF2B5EF4-FFF2-40B4-BE49-F238E27FC236}">
                <a16:creationId xmlns:a16="http://schemas.microsoft.com/office/drawing/2014/main" id="{164DBBD2-31FA-49D4-A73C-F5618417CD78}"/>
              </a:ext>
            </a:extLst>
          </p:cNvPr>
          <p:cNvGrpSpPr/>
          <p:nvPr userDrawn="1"/>
        </p:nvGrpSpPr>
        <p:grpSpPr>
          <a:xfrm>
            <a:off x="317500" y="-143933"/>
            <a:ext cx="11874500" cy="7001933"/>
            <a:chOff x="317500" y="-143933"/>
            <a:chExt cx="11874500" cy="7001933"/>
          </a:xfrm>
        </p:grpSpPr>
        <p:pic>
          <p:nvPicPr>
            <p:cNvPr id="3" name="Picture 2">
              <a:extLst>
                <a:ext uri="{FF2B5EF4-FFF2-40B4-BE49-F238E27FC236}">
                  <a16:creationId xmlns:a16="http://schemas.microsoft.com/office/drawing/2014/main" id="{A65D2D27-6251-427D-8CD6-3877A0D07EAB}"/>
                </a:ext>
              </a:extLst>
            </p:cNvPr>
            <p:cNvPicPr>
              <a:picLocks noChangeAspect="1" noChangeArrowheads="1"/>
            </p:cNvPicPr>
            <p:nvPr userDrawn="1"/>
          </p:nvPicPr>
          <p:blipFill>
            <a:blip r:embed="rId4">
              <a:alphaModFix amt="5000"/>
              <a:extLst>
                <a:ext uri="{28A0092B-C50C-407E-A947-70E740481C1C}">
                  <a14:useLocalDpi xmlns:a14="http://schemas.microsoft.com/office/drawing/2010/main" val="0"/>
                </a:ext>
              </a:extLst>
            </a:blip>
            <a:srcRect/>
            <a:stretch>
              <a:fillRect/>
            </a:stretch>
          </p:blipFill>
          <p:spPr bwMode="auto">
            <a:xfrm>
              <a:off x="317500" y="-143933"/>
              <a:ext cx="4876800" cy="48768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2A3BC59E-D672-4A55-BAD3-02C118600F0E}"/>
                </a:ext>
              </a:extLst>
            </p:cNvPr>
            <p:cNvPicPr>
              <a:picLocks noChangeAspect="1" noChangeArrowheads="1"/>
            </p:cNvPicPr>
            <p:nvPr userDrawn="1"/>
          </p:nvPicPr>
          <p:blipFill rotWithShape="1">
            <a:blip r:embed="rId4">
              <a:alphaModFix amt="5000"/>
              <a:extLst>
                <a:ext uri="{28A0092B-C50C-407E-A947-70E740481C1C}">
                  <a14:useLocalDpi xmlns:a14="http://schemas.microsoft.com/office/drawing/2010/main" val="0"/>
                </a:ext>
              </a:extLst>
            </a:blip>
            <a:srcRect t="10894"/>
            <a:stretch/>
          </p:blipFill>
          <p:spPr bwMode="auto">
            <a:xfrm>
              <a:off x="5413692" y="0"/>
              <a:ext cx="4876800" cy="4345517"/>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7A298334-0A8D-4F7D-BB05-50FDF31C692B}"/>
                </a:ext>
              </a:extLst>
            </p:cNvPr>
            <p:cNvPicPr>
              <a:picLocks noChangeAspect="1" noChangeArrowheads="1"/>
            </p:cNvPicPr>
            <p:nvPr userDrawn="1"/>
          </p:nvPicPr>
          <p:blipFill rotWithShape="1">
            <a:blip r:embed="rId4">
              <a:alphaModFix amt="5000"/>
              <a:extLst>
                <a:ext uri="{28A0092B-C50C-407E-A947-70E740481C1C}">
                  <a14:useLocalDpi xmlns:a14="http://schemas.microsoft.com/office/drawing/2010/main" val="0"/>
                </a:ext>
              </a:extLst>
            </a:blip>
            <a:srcRect b="57400"/>
            <a:stretch/>
          </p:blipFill>
          <p:spPr bwMode="auto">
            <a:xfrm>
              <a:off x="1660525" y="4732867"/>
              <a:ext cx="4876800" cy="2077508"/>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1C22F954-1D87-436F-A5A9-D0541938DB3A}"/>
                </a:ext>
              </a:extLst>
            </p:cNvPr>
            <p:cNvPicPr>
              <a:picLocks noChangeAspect="1" noChangeArrowheads="1"/>
            </p:cNvPicPr>
            <p:nvPr userDrawn="1"/>
          </p:nvPicPr>
          <p:blipFill rotWithShape="1">
            <a:blip r:embed="rId4">
              <a:alphaModFix amt="5000"/>
              <a:extLst>
                <a:ext uri="{28A0092B-C50C-407E-A947-70E740481C1C}">
                  <a14:useLocalDpi xmlns:a14="http://schemas.microsoft.com/office/drawing/2010/main" val="0"/>
                </a:ext>
              </a:extLst>
            </a:blip>
            <a:srcRect t="69185" b="-1"/>
            <a:stretch/>
          </p:blipFill>
          <p:spPr bwMode="auto">
            <a:xfrm rot="5400000">
              <a:off x="9002183" y="2581804"/>
              <a:ext cx="4876800" cy="1502834"/>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BF425A56-2CCE-4909-8AB3-844871F624B9}"/>
                </a:ext>
              </a:extLst>
            </p:cNvPr>
            <p:cNvPicPr>
              <a:picLocks noChangeAspect="1" noChangeArrowheads="1"/>
            </p:cNvPicPr>
            <p:nvPr userDrawn="1"/>
          </p:nvPicPr>
          <p:blipFill rotWithShape="1">
            <a:blip r:embed="rId4">
              <a:alphaModFix amt="5000"/>
              <a:extLst>
                <a:ext uri="{28A0092B-C50C-407E-A947-70E740481C1C}">
                  <a14:useLocalDpi xmlns:a14="http://schemas.microsoft.com/office/drawing/2010/main" val="0"/>
                </a:ext>
              </a:extLst>
            </a:blip>
            <a:srcRect l="15820" t="10432" r="-2089" b="41651"/>
            <a:stretch/>
          </p:blipFill>
          <p:spPr bwMode="auto">
            <a:xfrm>
              <a:off x="6756717" y="4521199"/>
              <a:ext cx="4207192" cy="2336801"/>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95767048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Bullet points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3637541395"/>
              </p:ext>
            </p:extLst>
          </p:nvPr>
        </p:nvGraphicFramePr>
        <p:xfrm>
          <a:off x="1960" y="1595"/>
          <a:ext cx="1953" cy="1587"/>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p:cNvPicPr/>
                      <p:nvPr/>
                    </p:nvPicPr>
                    <p:blipFill>
                      <a:blip r:embed="rId4"/>
                      <a:stretch>
                        <a:fillRect/>
                      </a:stretch>
                    </p:blipFill>
                    <p:spPr>
                      <a:xfrm>
                        <a:off x="1960" y="1595"/>
                        <a:ext cx="1953" cy="1587"/>
                      </a:xfrm>
                      <a:prstGeom prst="rect">
                        <a:avLst/>
                      </a:prstGeom>
                    </p:spPr>
                  </p:pic>
                </p:oleObj>
              </mc:Fallback>
            </mc:AlternateContent>
          </a:graphicData>
        </a:graphic>
      </p:graphicFrame>
      <p:sp>
        <p:nvSpPr>
          <p:cNvPr id="7" name="Slide Number Placeholder 6"/>
          <p:cNvSpPr>
            <a:spLocks noGrp="1"/>
          </p:cNvSpPr>
          <p:nvPr>
            <p:ph type="sldNum" sz="quarter" idx="12"/>
          </p:nvPr>
        </p:nvSpPr>
        <p:spPr>
          <a:xfrm>
            <a:off x="734648" y="6669088"/>
            <a:ext cx="1099893" cy="188912"/>
          </a:xfrm>
        </p:spPr>
        <p:txBody>
          <a:bodyPr/>
          <a:lstStyle/>
          <a:p>
            <a:fld id="{10909890-F8C3-400A-8C8A-FCCAD85E9D1A}" type="slidenum">
              <a:rPr lang="en-US" smtClean="0"/>
              <a:t>‹#›</a:t>
            </a:fld>
            <a:endParaRPr lang="en-US"/>
          </a:p>
        </p:txBody>
      </p:sp>
      <p:sp>
        <p:nvSpPr>
          <p:cNvPr id="10" name="Content Placeholder 2"/>
          <p:cNvSpPr>
            <a:spLocks noGrp="1"/>
          </p:cNvSpPr>
          <p:nvPr>
            <p:ph sz="half" idx="1" hasCustomPrompt="1"/>
          </p:nvPr>
        </p:nvSpPr>
        <p:spPr>
          <a:xfrm>
            <a:off x="734647" y="1628777"/>
            <a:ext cx="10722711" cy="4770439"/>
          </a:xfrm>
        </p:spPr>
        <p:txBody>
          <a:bodyPr>
            <a:noAutofit/>
          </a:bodyPr>
          <a:lstStyle>
            <a:lvl1pPr marL="166158" indent="-166158">
              <a:spcBef>
                <a:spcPts val="1108"/>
              </a:spcBef>
              <a:spcAft>
                <a:spcPts val="0"/>
              </a:spcAft>
              <a:buFont typeface="Wingdings" panose="05000000000000000000" pitchFamily="2" charset="2"/>
              <a:buChar char="§"/>
              <a:defRPr sz="1477" baseline="0"/>
            </a:lvl1pPr>
            <a:lvl2pPr marL="332316" indent="-166158">
              <a:spcBef>
                <a:spcPts val="1108"/>
              </a:spcBef>
              <a:spcAft>
                <a:spcPts val="0"/>
              </a:spcAft>
              <a:buFont typeface="Wingdings" panose="05000000000000000000" pitchFamily="2" charset="2"/>
              <a:buChar char="§"/>
              <a:defRPr sz="1477" baseline="0"/>
            </a:lvl2pPr>
            <a:lvl3pPr marL="498474" indent="-166158">
              <a:spcBef>
                <a:spcPts val="1108"/>
              </a:spcBef>
              <a:spcAft>
                <a:spcPts val="0"/>
              </a:spcAft>
              <a:buFont typeface="Wingdings" panose="05000000000000000000" pitchFamily="2" charset="2"/>
              <a:buChar char="§"/>
              <a:tabLst>
                <a:tab pos="247657" algn="l"/>
              </a:tabLst>
              <a:defRPr sz="1477" baseline="0"/>
            </a:lvl3pPr>
            <a:lvl4pPr marL="329720" indent="-82064">
              <a:spcBef>
                <a:spcPts val="554"/>
              </a:spcBef>
              <a:spcAft>
                <a:spcPts val="0"/>
              </a:spcAft>
              <a:defRPr sz="1292"/>
            </a:lvl4pPr>
            <a:lvl5pPr marL="411784" indent="-82064">
              <a:spcBef>
                <a:spcPts val="554"/>
              </a:spcBef>
              <a:spcAft>
                <a:spcPts val="0"/>
              </a:spcAft>
              <a:defRPr sz="1292"/>
            </a:lvl5pPr>
          </a:lstStyle>
          <a:p>
            <a:pPr lvl="0"/>
            <a:r>
              <a:rPr lang="en-US"/>
              <a:t>First level</a:t>
            </a:r>
          </a:p>
          <a:p>
            <a:pPr lvl="0"/>
            <a:r>
              <a:rPr lang="en-US"/>
              <a:t>First level</a:t>
            </a:r>
          </a:p>
          <a:p>
            <a:pPr lvl="1"/>
            <a:r>
              <a:rPr lang="en-US"/>
              <a:t>Second level</a:t>
            </a:r>
          </a:p>
          <a:p>
            <a:pPr lvl="1"/>
            <a:r>
              <a:rPr lang="en-US"/>
              <a:t>Second level</a:t>
            </a:r>
          </a:p>
          <a:p>
            <a:pPr lvl="2"/>
            <a:r>
              <a:rPr lang="en-US"/>
              <a:t>Third level</a:t>
            </a:r>
          </a:p>
          <a:p>
            <a:pPr lvl="2"/>
            <a:r>
              <a:rPr lang="en-US"/>
              <a:t>Third level</a:t>
            </a:r>
          </a:p>
        </p:txBody>
      </p:sp>
      <p:sp>
        <p:nvSpPr>
          <p:cNvPr id="18" name="Text Placeholder 11"/>
          <p:cNvSpPr>
            <a:spLocks noGrp="1"/>
          </p:cNvSpPr>
          <p:nvPr>
            <p:ph type="body" sz="quarter" idx="15" hasCustomPrompt="1"/>
          </p:nvPr>
        </p:nvSpPr>
        <p:spPr>
          <a:xfrm>
            <a:off x="734647" y="1224006"/>
            <a:ext cx="10722711" cy="404775"/>
          </a:xfrm>
        </p:spPr>
        <p:txBody>
          <a:bodyPr vert="horz" lIns="0" tIns="0" rIns="0" bIns="0" rtlCol="0" anchor="t">
            <a:noAutofit/>
          </a:bodyPr>
          <a:lstStyle>
            <a:lvl1pPr marL="211021" indent="-211021">
              <a:buNone/>
              <a:defRPr lang="en-US" sz="1661" dirty="0">
                <a:solidFill>
                  <a:schemeClr val="accent3"/>
                </a:solidFill>
              </a:defRPr>
            </a:lvl1pPr>
          </a:lstStyle>
          <a:p>
            <a:pPr marL="0" lvl="0" indent="0">
              <a:spcAft>
                <a:spcPts val="461"/>
              </a:spcAft>
            </a:pPr>
            <a:r>
              <a:rPr lang="en-US"/>
              <a:t>Subtitle</a:t>
            </a:r>
          </a:p>
        </p:txBody>
      </p:sp>
      <p:sp>
        <p:nvSpPr>
          <p:cNvPr id="19" name="Text Placeholder 2"/>
          <p:cNvSpPr>
            <a:spLocks noGrp="1"/>
          </p:cNvSpPr>
          <p:nvPr>
            <p:ph type="body" sz="quarter" idx="17" hasCustomPrompt="1"/>
          </p:nvPr>
        </p:nvSpPr>
        <p:spPr>
          <a:xfrm>
            <a:off x="734648" y="157652"/>
            <a:ext cx="804707" cy="170496"/>
          </a:xfrm>
        </p:spPr>
        <p:txBody>
          <a:bodyPr wrap="none">
            <a:spAutoFit/>
          </a:bodyPr>
          <a:lstStyle>
            <a:lvl1pPr marL="0" indent="0">
              <a:buNone/>
              <a:defRPr lang="en-US" sz="1108" kern="1200" smtClean="0">
                <a:solidFill>
                  <a:schemeClr val="accent3"/>
                </a:solidFill>
                <a:latin typeface="+mn-lt"/>
                <a:ea typeface="+mn-ea"/>
                <a:cs typeface="+mn-cs"/>
              </a:defRPr>
            </a:lvl1pPr>
            <a:lvl2pPr marL="422042" indent="0">
              <a:buNone/>
              <a:defRPr lang="en-US" sz="1108" kern="1200" smtClean="0">
                <a:solidFill>
                  <a:schemeClr val="accent3"/>
                </a:solidFill>
                <a:latin typeface="+mn-lt"/>
                <a:ea typeface="+mn-ea"/>
                <a:cs typeface="+mn-cs"/>
              </a:defRPr>
            </a:lvl2pPr>
            <a:lvl3pPr marL="844083" indent="0">
              <a:buNone/>
              <a:defRPr lang="en-US" sz="1108" kern="1200" smtClean="0">
                <a:solidFill>
                  <a:schemeClr val="accent3"/>
                </a:solidFill>
                <a:latin typeface="+mn-lt"/>
                <a:ea typeface="+mn-ea"/>
                <a:cs typeface="+mn-cs"/>
              </a:defRPr>
            </a:lvl3pPr>
            <a:lvl4pPr marL="1266124" indent="0">
              <a:buNone/>
              <a:defRPr lang="en-US" sz="1108" kern="1200" smtClean="0">
                <a:solidFill>
                  <a:schemeClr val="accent3"/>
                </a:solidFill>
                <a:latin typeface="+mn-lt"/>
                <a:ea typeface="+mn-ea"/>
                <a:cs typeface="+mn-cs"/>
              </a:defRPr>
            </a:lvl4pPr>
            <a:lvl5pPr marL="1688165" indent="0">
              <a:buNone/>
              <a:defRPr lang="en-GB" sz="1108" kern="1200" dirty="0">
                <a:solidFill>
                  <a:schemeClr val="accent3"/>
                </a:solidFill>
                <a:latin typeface="+mn-lt"/>
                <a:ea typeface="+mn-ea"/>
                <a:cs typeface="+mn-cs"/>
              </a:defRPr>
            </a:lvl5pPr>
          </a:lstStyle>
          <a:p>
            <a:pPr lvl="0"/>
            <a:r>
              <a:rPr lang="en-US"/>
              <a:t>Chapter title</a:t>
            </a:r>
          </a:p>
        </p:txBody>
      </p:sp>
      <p:sp>
        <p:nvSpPr>
          <p:cNvPr id="20" name="Text Placeholder 2"/>
          <p:cNvSpPr>
            <a:spLocks noGrp="1"/>
          </p:cNvSpPr>
          <p:nvPr>
            <p:ph type="body" sz="quarter" idx="18" hasCustomPrompt="1"/>
          </p:nvPr>
        </p:nvSpPr>
        <p:spPr>
          <a:xfrm>
            <a:off x="1942158" y="6660841"/>
            <a:ext cx="617157" cy="113749"/>
          </a:xfrm>
        </p:spPr>
        <p:txBody>
          <a:bodyPr wrap="none">
            <a:spAutoFit/>
          </a:bodyPr>
          <a:lstStyle>
            <a:lvl1pPr marL="0" indent="0">
              <a:buNone/>
              <a:defRPr lang="en-US" sz="739" kern="1200" baseline="0" smtClean="0">
                <a:solidFill>
                  <a:schemeClr val="accent3"/>
                </a:solidFill>
                <a:latin typeface="+mn-lt"/>
                <a:ea typeface="+mn-ea"/>
                <a:cs typeface="+mn-cs"/>
              </a:defRPr>
            </a:lvl1pPr>
            <a:lvl2pPr marL="422042" indent="0">
              <a:buNone/>
              <a:defRPr lang="en-US" sz="1108" kern="1200" smtClean="0">
                <a:solidFill>
                  <a:schemeClr val="accent3"/>
                </a:solidFill>
                <a:latin typeface="+mn-lt"/>
                <a:ea typeface="+mn-ea"/>
                <a:cs typeface="+mn-cs"/>
              </a:defRPr>
            </a:lvl2pPr>
            <a:lvl3pPr marL="844083" indent="0">
              <a:buNone/>
              <a:defRPr lang="en-US" sz="1108" kern="1200" smtClean="0">
                <a:solidFill>
                  <a:schemeClr val="accent3"/>
                </a:solidFill>
                <a:latin typeface="+mn-lt"/>
                <a:ea typeface="+mn-ea"/>
                <a:cs typeface="+mn-cs"/>
              </a:defRPr>
            </a:lvl3pPr>
            <a:lvl4pPr marL="1266124" indent="0">
              <a:buNone/>
              <a:defRPr lang="en-US" sz="1108" kern="1200" smtClean="0">
                <a:solidFill>
                  <a:schemeClr val="accent3"/>
                </a:solidFill>
                <a:latin typeface="+mn-lt"/>
                <a:ea typeface="+mn-ea"/>
                <a:cs typeface="+mn-cs"/>
              </a:defRPr>
            </a:lvl4pPr>
            <a:lvl5pPr marL="1688165" indent="0">
              <a:buNone/>
              <a:defRPr lang="en-GB" sz="1108" kern="1200" dirty="0">
                <a:solidFill>
                  <a:schemeClr val="accent3"/>
                </a:solidFill>
                <a:latin typeface="+mn-lt"/>
                <a:ea typeface="+mn-ea"/>
                <a:cs typeface="+mn-cs"/>
              </a:defRPr>
            </a:lvl5pPr>
          </a:lstStyle>
          <a:p>
            <a:pPr lvl="0"/>
            <a:r>
              <a:rPr lang="en-US"/>
              <a:t>RHI </a:t>
            </a:r>
            <a:r>
              <a:rPr lang="en-US" err="1"/>
              <a:t>Magnesita</a:t>
            </a:r>
            <a:endParaRPr lang="en-US"/>
          </a:p>
        </p:txBody>
      </p:sp>
      <p:sp>
        <p:nvSpPr>
          <p:cNvPr id="2" name="Title 1"/>
          <p:cNvSpPr>
            <a:spLocks noGrp="1"/>
          </p:cNvSpPr>
          <p:nvPr>
            <p:ph type="title"/>
          </p:nvPr>
        </p:nvSpPr>
        <p:spPr/>
        <p:txBody>
          <a:bodyPr/>
          <a:lstStyle/>
          <a:p>
            <a:r>
              <a:rPr lang="de-DE"/>
              <a:t>Titelmasterformat durch Klicken bearbeiten</a:t>
            </a:r>
            <a:endParaRPr lang="en-US"/>
          </a:p>
        </p:txBody>
      </p:sp>
    </p:spTree>
    <p:extLst>
      <p:ext uri="{BB962C8B-B14F-4D97-AF65-F5344CB8AC3E}">
        <p14:creationId xmlns:p14="http://schemas.microsoft.com/office/powerpoint/2010/main" val="45574397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chemeClr val="tx1">
              <a:lumMod val="75000"/>
              <a:lumOff val="25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rgbClr val="000000"/>
              </a:solidFill>
            </a:endParaRPr>
          </a:p>
        </p:txBody>
      </p:sp>
      <p:sp>
        <p:nvSpPr>
          <p:cNvPr id="2" name="Title 1"/>
          <p:cNvSpPr>
            <a:spLocks noGrp="1"/>
          </p:cNvSpPr>
          <p:nvPr>
            <p:ph type="title"/>
          </p:nvPr>
        </p:nvSpPr>
        <p:spPr>
          <a:xfrm>
            <a:off x="609600" y="274638"/>
            <a:ext cx="10972800" cy="628962"/>
          </a:xfrm>
          <a:prstGeom prst="rect">
            <a:avLst/>
          </a:prstGeom>
        </p:spPr>
        <p:txBody>
          <a:bodyPr/>
          <a:lstStyle>
            <a:lvl1pPr>
              <a:defRPr sz="2000">
                <a:latin typeface="+mj-lt"/>
              </a:defRPr>
            </a:lvl1pPr>
          </a:lstStyle>
          <a:p>
            <a:r>
              <a:rPr lang="en-US" dirty="0"/>
              <a:t>Click to edit Master title style</a:t>
            </a:r>
            <a:endParaRPr lang="en-GB" dirty="0"/>
          </a:p>
        </p:txBody>
      </p:sp>
      <p:sp>
        <p:nvSpPr>
          <p:cNvPr id="7" name="Line 10"/>
          <p:cNvSpPr>
            <a:spLocks noChangeShapeType="1"/>
          </p:cNvSpPr>
          <p:nvPr userDrawn="1"/>
        </p:nvSpPr>
        <p:spPr bwMode="auto">
          <a:xfrm>
            <a:off x="609600"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808080"/>
              </a:solidFill>
            </a:endParaRPr>
          </a:p>
        </p:txBody>
      </p:sp>
      <p:sp>
        <p:nvSpPr>
          <p:cNvPr id="14" name="TextBox 13"/>
          <p:cNvSpPr txBox="1"/>
          <p:nvPr userDrawn="1"/>
        </p:nvSpPr>
        <p:spPr>
          <a:xfrm>
            <a:off x="11481600" y="6516000"/>
            <a:ext cx="603974" cy="227929"/>
          </a:xfrm>
          <a:prstGeom prst="rect">
            <a:avLst/>
          </a:prstGeom>
          <a:noFill/>
        </p:spPr>
        <p:txBody>
          <a:bodyPr wrap="square" lIns="0" rIns="0" rtlCol="0">
            <a:noAutofit/>
          </a:bodyPr>
          <a:lstStyle/>
          <a:p>
            <a:fld id="{4E088A79-16B0-EB47-9803-132C51922F54}" type="slidenum">
              <a:rPr lang="en-US" sz="1000">
                <a:solidFill>
                  <a:srgbClr val="FFFFFF"/>
                </a:solidFill>
              </a:rPr>
              <a:pPr/>
              <a:t>‹#›</a:t>
            </a:fld>
            <a:endParaRPr lang="en-US" sz="1000" dirty="0">
              <a:solidFill>
                <a:srgbClr val="FFFFFF"/>
              </a:solidFill>
            </a:endParaRPr>
          </a:p>
        </p:txBody>
      </p:sp>
      <p:sp>
        <p:nvSpPr>
          <p:cNvPr id="15" name="Footer Placeholder 4"/>
          <p:cNvSpPr txBox="1">
            <a:spLocks/>
          </p:cNvSpPr>
          <p:nvPr userDrawn="1"/>
        </p:nvSpPr>
        <p:spPr>
          <a:xfrm>
            <a:off x="-823200" y="6516000"/>
            <a:ext cx="4579200" cy="201600"/>
          </a:xfrm>
          <a:prstGeom prst="rect">
            <a:avLst/>
          </a:prstGeom>
        </p:spPr>
        <p:txBody>
          <a:bodyPr/>
          <a:lstStyle>
            <a:defPPr>
              <a:defRPr lang="en-US"/>
            </a:defPPr>
            <a:lvl1pPr marL="0" algn="ctr" defTabSz="914400" rtl="0" eaLnBrk="1" latinLnBrk="0" hangingPunct="1">
              <a:defRPr sz="900" kern="1200">
                <a:solidFill>
                  <a:schemeClr val="tx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rgbClr val="FFFFFF"/>
                </a:solidFill>
                <a:latin typeface="Arial"/>
              </a:rPr>
              <a:t>Strictly Private &amp; Confidential</a:t>
            </a:r>
          </a:p>
        </p:txBody>
      </p:sp>
      <p:grpSp>
        <p:nvGrpSpPr>
          <p:cNvPr id="16" name="Group 15"/>
          <p:cNvGrpSpPr/>
          <p:nvPr userDrawn="1"/>
        </p:nvGrpSpPr>
        <p:grpSpPr bwMode="gray">
          <a:xfrm>
            <a:off x="243285" y="6465868"/>
            <a:ext cx="366315" cy="204787"/>
            <a:chOff x="8348663" y="6450013"/>
            <a:chExt cx="338137" cy="204787"/>
          </a:xfrm>
          <a:solidFill>
            <a:srgbClr val="808080"/>
          </a:solidFill>
        </p:grpSpPr>
        <p:sp>
          <p:nvSpPr>
            <p:cNvPr id="17" name="Freeform 5"/>
            <p:cNvSpPr>
              <a:spLocks/>
            </p:cNvSpPr>
            <p:nvPr userDrawn="1"/>
          </p:nvSpPr>
          <p:spPr bwMode="gray">
            <a:xfrm>
              <a:off x="8348663" y="6450013"/>
              <a:ext cx="163512" cy="204787"/>
            </a:xfrm>
            <a:custGeom>
              <a:avLst/>
              <a:gdLst/>
              <a:ahLst/>
              <a:cxnLst>
                <a:cxn ang="0">
                  <a:pos x="39" y="78"/>
                </a:cxn>
                <a:cxn ang="0">
                  <a:pos x="85" y="78"/>
                </a:cxn>
                <a:cxn ang="0">
                  <a:pos x="85" y="51"/>
                </a:cxn>
                <a:cxn ang="0">
                  <a:pos x="39" y="51"/>
                </a:cxn>
                <a:cxn ang="0">
                  <a:pos x="39" y="30"/>
                </a:cxn>
                <a:cxn ang="0">
                  <a:pos x="90" y="30"/>
                </a:cxn>
                <a:cxn ang="0">
                  <a:pos x="73" y="0"/>
                </a:cxn>
                <a:cxn ang="0">
                  <a:pos x="0" y="0"/>
                </a:cxn>
                <a:cxn ang="0">
                  <a:pos x="0" y="129"/>
                </a:cxn>
                <a:cxn ang="0">
                  <a:pos x="103" y="129"/>
                </a:cxn>
                <a:cxn ang="0">
                  <a:pos x="103" y="99"/>
                </a:cxn>
                <a:cxn ang="0">
                  <a:pos x="39" y="99"/>
                </a:cxn>
                <a:cxn ang="0">
                  <a:pos x="39" y="78"/>
                </a:cxn>
              </a:cxnLst>
              <a:rect l="0" t="0" r="r" b="b"/>
              <a:pathLst>
                <a:path w="103" h="129">
                  <a:moveTo>
                    <a:pt x="39" y="78"/>
                  </a:moveTo>
                  <a:lnTo>
                    <a:pt x="85" y="78"/>
                  </a:lnTo>
                  <a:lnTo>
                    <a:pt x="85" y="51"/>
                  </a:lnTo>
                  <a:lnTo>
                    <a:pt x="39" y="51"/>
                  </a:lnTo>
                  <a:lnTo>
                    <a:pt x="39" y="30"/>
                  </a:lnTo>
                  <a:lnTo>
                    <a:pt x="90" y="30"/>
                  </a:lnTo>
                  <a:lnTo>
                    <a:pt x="73" y="0"/>
                  </a:lnTo>
                  <a:lnTo>
                    <a:pt x="0" y="0"/>
                  </a:lnTo>
                  <a:lnTo>
                    <a:pt x="0" y="129"/>
                  </a:lnTo>
                  <a:lnTo>
                    <a:pt x="103" y="129"/>
                  </a:lnTo>
                  <a:lnTo>
                    <a:pt x="103" y="99"/>
                  </a:lnTo>
                  <a:lnTo>
                    <a:pt x="39" y="99"/>
                  </a:lnTo>
                  <a:lnTo>
                    <a:pt x="39" y="78"/>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8" name="Freeform 6"/>
            <p:cNvSpPr>
              <a:spLocks/>
            </p:cNvSpPr>
            <p:nvPr userDrawn="1"/>
          </p:nvSpPr>
          <p:spPr bwMode="gray">
            <a:xfrm>
              <a:off x="8483600" y="6450013"/>
              <a:ext cx="203200" cy="204787"/>
            </a:xfrm>
            <a:custGeom>
              <a:avLst/>
              <a:gdLst/>
              <a:ahLst/>
              <a:cxnLst>
                <a:cxn ang="0">
                  <a:pos x="86" y="0"/>
                </a:cxn>
                <a:cxn ang="0">
                  <a:pos x="64" y="42"/>
                </a:cxn>
                <a:cxn ang="0">
                  <a:pos x="42" y="0"/>
                </a:cxn>
                <a:cxn ang="0">
                  <a:pos x="0" y="0"/>
                </a:cxn>
                <a:cxn ang="0">
                  <a:pos x="45" y="78"/>
                </a:cxn>
                <a:cxn ang="0">
                  <a:pos x="45" y="129"/>
                </a:cxn>
                <a:cxn ang="0">
                  <a:pos x="83" y="129"/>
                </a:cxn>
                <a:cxn ang="0">
                  <a:pos x="83" y="78"/>
                </a:cxn>
                <a:cxn ang="0">
                  <a:pos x="128" y="0"/>
                </a:cxn>
                <a:cxn ang="0">
                  <a:pos x="86" y="0"/>
                </a:cxn>
              </a:cxnLst>
              <a:rect l="0" t="0" r="r" b="b"/>
              <a:pathLst>
                <a:path w="128" h="129">
                  <a:moveTo>
                    <a:pt x="86" y="0"/>
                  </a:moveTo>
                  <a:lnTo>
                    <a:pt x="64" y="42"/>
                  </a:lnTo>
                  <a:lnTo>
                    <a:pt x="42" y="0"/>
                  </a:lnTo>
                  <a:lnTo>
                    <a:pt x="0" y="0"/>
                  </a:lnTo>
                  <a:lnTo>
                    <a:pt x="45" y="78"/>
                  </a:lnTo>
                  <a:lnTo>
                    <a:pt x="45" y="129"/>
                  </a:lnTo>
                  <a:lnTo>
                    <a:pt x="83" y="129"/>
                  </a:lnTo>
                  <a:lnTo>
                    <a:pt x="83" y="78"/>
                  </a:lnTo>
                  <a:lnTo>
                    <a:pt x="128" y="0"/>
                  </a:lnTo>
                  <a:lnTo>
                    <a:pt x="86"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grpSp>
    </p:spTree>
    <p:extLst>
      <p:ext uri="{BB962C8B-B14F-4D97-AF65-F5344CB8AC3E}">
        <p14:creationId xmlns:p14="http://schemas.microsoft.com/office/powerpoint/2010/main" val="252278500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616" y="2851522"/>
            <a:ext cx="4445485" cy="1202318"/>
          </a:xfrm>
        </p:spPr>
        <p:txBody>
          <a:bodyPr vert="horz" lIns="0" tIns="0" rIns="0" bIns="0" rtlCol="0" anchor="ctr" anchorCtr="0">
            <a:noAutofit/>
          </a:bodyPr>
          <a:lstStyle>
            <a:lvl1pPr marL="0" indent="0">
              <a:buNone/>
              <a:defRPr kumimoji="0" lang="en-IN" sz="3598"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356438" marR="0" lvl="0" indent="-356438" defTabSz="1007383" fontAlgn="auto">
              <a:lnSpc>
                <a:spcPct val="100000"/>
              </a:lnSpc>
              <a:spcBef>
                <a:spcPct val="0"/>
              </a:spcBef>
              <a:spcAft>
                <a:spcPts val="0"/>
              </a:spcAft>
              <a:buClrTx/>
              <a:buSzTx/>
              <a:tabLst/>
            </a:pPr>
            <a:r>
              <a:rPr lang="en-US"/>
              <a:t>Chapter Title</a:t>
            </a:r>
            <a:endParaRPr lang="en-IN"/>
          </a:p>
        </p:txBody>
      </p:sp>
    </p:spTree>
    <p:extLst>
      <p:ext uri="{BB962C8B-B14F-4D97-AF65-F5344CB8AC3E}">
        <p14:creationId xmlns:p14="http://schemas.microsoft.com/office/powerpoint/2010/main" val="327273659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1378" y="2060235"/>
            <a:ext cx="5289245" cy="3025522"/>
          </a:xfrm>
        </p:spPr>
        <p:txBody>
          <a:bodyPr lIns="0" tIns="0" rIns="0" bIns="0">
            <a:noAutofit/>
          </a:bodyPr>
          <a:lstStyle>
            <a:lvl1pPr marL="0" indent="0" algn="ctr">
              <a:buNone/>
              <a:defRPr lang="en-US" sz="2799" dirty="0" smtClean="0">
                <a:latin typeface="Georgia" panose="02040502050405020303" pitchFamily="18" charset="0"/>
              </a:defRPr>
            </a:lvl1pPr>
          </a:lstStyle>
          <a:p>
            <a:pPr marL="356438" lvl="0" indent="-356438" algn="ctr">
              <a:spcBef>
                <a:spcPts val="0"/>
              </a:spcBef>
            </a:pPr>
            <a:r>
              <a:rPr lang="en-US"/>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1378" y="5506678"/>
            <a:ext cx="5289245" cy="316838"/>
          </a:xfrm>
        </p:spPr>
        <p:txBody>
          <a:bodyPr lIns="0" tIns="0" rIns="0" bIns="0">
            <a:noAutofit/>
          </a:bodyPr>
          <a:lstStyle>
            <a:lvl1pPr marL="0" indent="0" algn="ctr">
              <a:buNone/>
              <a:defRPr lang="en-US" sz="1599" dirty="0" smtClean="0">
                <a:solidFill>
                  <a:srgbClr val="2E2E38"/>
                </a:solidFill>
                <a:latin typeface="+mn-lt"/>
              </a:defRPr>
            </a:lvl1pPr>
          </a:lstStyle>
          <a:p>
            <a:pPr marL="356438" lvl="0" indent="-356438" algn="ctr">
              <a:spcBef>
                <a:spcPts val="0"/>
              </a:spcBef>
              <a:spcAft>
                <a:spcPts val="600"/>
              </a:spcAft>
            </a:pPr>
            <a:r>
              <a:rPr lang="en-US"/>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1378" y="5818717"/>
            <a:ext cx="5289245" cy="316838"/>
          </a:xfrm>
        </p:spPr>
        <p:txBody>
          <a:bodyPr vert="horz" lIns="0" tIns="0" rIns="0" bIns="0" rtlCol="0" anchor="t" anchorCtr="0">
            <a:noAutofit/>
          </a:bodyPr>
          <a:lstStyle>
            <a:lvl1pPr marL="0" indent="0" algn="ctr">
              <a:buNone/>
              <a:defRPr lang="en-US" sz="1599" dirty="0" smtClean="0">
                <a:solidFill>
                  <a:srgbClr val="2E2E38"/>
                </a:solidFill>
                <a:latin typeface="+mn-lt"/>
              </a:defRPr>
            </a:lvl1pPr>
          </a:lstStyle>
          <a:p>
            <a:pPr marL="356438" lvl="0" indent="-356438" algn="ctr">
              <a:spcBef>
                <a:spcPts val="0"/>
              </a:spcBef>
              <a:spcAft>
                <a:spcPts val="600"/>
              </a:spcAft>
            </a:pPr>
            <a:r>
              <a:rPr lang="en-US"/>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7415" y="979788"/>
            <a:ext cx="2337171"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194">
                <a:solidFill>
                  <a:srgbClr val="EA3A55"/>
                </a:solidFill>
                <a:latin typeface="Georgia" panose="02040502050405020303" pitchFamily="18" charset="0"/>
              </a:rPr>
              <a:t>“ </a:t>
            </a:r>
          </a:p>
        </p:txBody>
      </p:sp>
    </p:spTree>
    <p:extLst>
      <p:ext uri="{BB962C8B-B14F-4D97-AF65-F5344CB8AC3E}">
        <p14:creationId xmlns:p14="http://schemas.microsoft.com/office/powerpoint/2010/main" val="258458792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3_Empty">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5B34AE16-8082-4E8F-A152-7D608DAFC3CE}"/>
              </a:ext>
            </a:extLst>
          </p:cNvPr>
          <p:cNvCxnSpPr>
            <a:cxnSpLocks/>
          </p:cNvCxnSpPr>
          <p:nvPr userDrawn="1"/>
        </p:nvCxnSpPr>
        <p:spPr>
          <a:xfrm>
            <a:off x="1290587" y="1233035"/>
            <a:ext cx="7160394" cy="0"/>
          </a:xfrm>
          <a:prstGeom prst="line">
            <a:avLst/>
          </a:prstGeom>
          <a:ln w="9525">
            <a:solidFill>
              <a:srgbClr val="EA3A55"/>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4279333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4_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32959352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 0 All Whit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D122A6A-E87D-4B92-904F-81FA3E9576D6}"/>
              </a:ext>
            </a:extLst>
          </p:cNvPr>
          <p:cNvSpPr/>
          <p:nvPr userDrawn="1"/>
        </p:nvSpPr>
        <p:spPr>
          <a:xfrm>
            <a:off x="1269186" y="1135976"/>
            <a:ext cx="9541689" cy="5173134"/>
          </a:xfrm>
          <a:custGeom>
            <a:avLst/>
            <a:gdLst>
              <a:gd name="connsiteX0" fmla="*/ 0 w 9208607"/>
              <a:gd name="connsiteY0" fmla="*/ 0 h 5173134"/>
              <a:gd name="connsiteX1" fmla="*/ 9208607 w 9208607"/>
              <a:gd name="connsiteY1" fmla="*/ 0 h 5173134"/>
              <a:gd name="connsiteX2" fmla="*/ 9208607 w 9208607"/>
              <a:gd name="connsiteY2" fmla="*/ 5173134 h 5173134"/>
              <a:gd name="connsiteX3" fmla="*/ 0 w 9208607"/>
              <a:gd name="connsiteY3" fmla="*/ 5173134 h 5173134"/>
              <a:gd name="connsiteX4" fmla="*/ 0 w 9208607"/>
              <a:gd name="connsiteY4" fmla="*/ 0 h 5173134"/>
              <a:gd name="connsiteX0" fmla="*/ 0 w 9208607"/>
              <a:gd name="connsiteY0" fmla="*/ 0 h 5173134"/>
              <a:gd name="connsiteX1" fmla="*/ 9208607 w 9208607"/>
              <a:gd name="connsiteY1" fmla="*/ 0 h 5173134"/>
              <a:gd name="connsiteX2" fmla="*/ 9208607 w 9208607"/>
              <a:gd name="connsiteY2" fmla="*/ 3589867 h 5173134"/>
              <a:gd name="connsiteX3" fmla="*/ 0 w 9208607"/>
              <a:gd name="connsiteY3" fmla="*/ 5173134 h 5173134"/>
              <a:gd name="connsiteX4" fmla="*/ 0 w 9208607"/>
              <a:gd name="connsiteY4" fmla="*/ 0 h 5173134"/>
              <a:gd name="connsiteX0" fmla="*/ 0 w 9208607"/>
              <a:gd name="connsiteY0" fmla="*/ 0 h 5173134"/>
              <a:gd name="connsiteX1" fmla="*/ 9208607 w 9208607"/>
              <a:gd name="connsiteY1" fmla="*/ 0 h 5173134"/>
              <a:gd name="connsiteX2" fmla="*/ 9200140 w 9208607"/>
              <a:gd name="connsiteY2" fmla="*/ 3716867 h 5173134"/>
              <a:gd name="connsiteX3" fmla="*/ 0 w 9208607"/>
              <a:gd name="connsiteY3" fmla="*/ 5173134 h 5173134"/>
              <a:gd name="connsiteX4" fmla="*/ 0 w 9208607"/>
              <a:gd name="connsiteY4" fmla="*/ 0 h 5173134"/>
              <a:gd name="connsiteX0" fmla="*/ 0 w 9209421"/>
              <a:gd name="connsiteY0" fmla="*/ 0 h 5173134"/>
              <a:gd name="connsiteX1" fmla="*/ 9208607 w 9209421"/>
              <a:gd name="connsiteY1" fmla="*/ 0 h 5173134"/>
              <a:gd name="connsiteX2" fmla="*/ 9208607 w 9209421"/>
              <a:gd name="connsiteY2" fmla="*/ 3759201 h 5173134"/>
              <a:gd name="connsiteX3" fmla="*/ 0 w 9209421"/>
              <a:gd name="connsiteY3" fmla="*/ 5173134 h 5173134"/>
              <a:gd name="connsiteX4" fmla="*/ 0 w 9209421"/>
              <a:gd name="connsiteY4" fmla="*/ 0 h 51731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09421" h="5173134">
                <a:moveTo>
                  <a:pt x="0" y="0"/>
                </a:moveTo>
                <a:lnTo>
                  <a:pt x="9208607" y="0"/>
                </a:lnTo>
                <a:cubicBezTo>
                  <a:pt x="9205785" y="1238956"/>
                  <a:pt x="9211429" y="2520245"/>
                  <a:pt x="9208607" y="3759201"/>
                </a:cubicBezTo>
                <a:lnTo>
                  <a:pt x="0" y="5173134"/>
                </a:lnTo>
                <a:lnTo>
                  <a:pt x="0" y="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p>
        </p:txBody>
      </p:sp>
      <p:pic>
        <p:nvPicPr>
          <p:cNvPr id="4" name="Imagen 3">
            <a:extLst>
              <a:ext uri="{FF2B5EF4-FFF2-40B4-BE49-F238E27FC236}">
                <a16:creationId xmlns:a16="http://schemas.microsoft.com/office/drawing/2014/main" id="{4AC5EFCF-D26B-487B-96D6-4700490C2543}"/>
              </a:ext>
            </a:extLst>
          </p:cNvPr>
          <p:cNvPicPr>
            <a:picLocks noChangeAspect="1"/>
          </p:cNvPicPr>
          <p:nvPr userDrawn="1"/>
        </p:nvPicPr>
        <p:blipFill>
          <a:blip r:embed="rId2">
            <a:duotone>
              <a:prstClr val="black"/>
              <a:srgbClr val="EA3A55">
                <a:tint val="45000"/>
                <a:satMod val="400000"/>
              </a:srgbClr>
            </a:duotone>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509884" y="141471"/>
            <a:ext cx="1502833" cy="376285"/>
          </a:xfrm>
          <a:prstGeom prst="rect">
            <a:avLst/>
          </a:prstGeom>
        </p:spPr>
      </p:pic>
    </p:spTree>
    <p:extLst>
      <p:ext uri="{BB962C8B-B14F-4D97-AF65-F5344CB8AC3E}">
        <p14:creationId xmlns:p14="http://schemas.microsoft.com/office/powerpoint/2010/main" val="56073764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0_ 0 All White">
    <p:bg>
      <p:bgRef idx="1001">
        <a:schemeClr val="bg2"/>
      </p:bgRef>
    </p:bg>
    <p:spTree>
      <p:nvGrpSpPr>
        <p:cNvPr id="1" name=""/>
        <p:cNvGrpSpPr/>
        <p:nvPr/>
      </p:nvGrpSpPr>
      <p:grpSpPr>
        <a:xfrm>
          <a:off x="0" y="0"/>
          <a:ext cx="0" cy="0"/>
          <a:chOff x="0" y="0"/>
          <a:chExt cx="0" cy="0"/>
        </a:xfrm>
      </p:grpSpPr>
      <p:pic>
        <p:nvPicPr>
          <p:cNvPr id="5" name="Imagen 3">
            <a:extLst>
              <a:ext uri="{FF2B5EF4-FFF2-40B4-BE49-F238E27FC236}">
                <a16:creationId xmlns:a16="http://schemas.microsoft.com/office/drawing/2014/main" id="{CB1DA858-745B-4032-8500-4145C75561B9}"/>
              </a:ext>
            </a:extLst>
          </p:cNvPr>
          <p:cNvPicPr>
            <a:picLocks noChangeAspect="1"/>
          </p:cNvPicPr>
          <p:nvPr userDrawn="1"/>
        </p:nvPicPr>
        <p:blipFill>
          <a:blip r:embed="rId2">
            <a:duotone>
              <a:prstClr val="black"/>
              <a:srgbClr val="EA3A55">
                <a:tint val="45000"/>
                <a:satMod val="400000"/>
              </a:srgbClr>
            </a:duotone>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509884" y="141471"/>
            <a:ext cx="1502833" cy="376285"/>
          </a:xfrm>
          <a:prstGeom prst="rect">
            <a:avLst/>
          </a:prstGeom>
        </p:spPr>
      </p:pic>
      <p:pic>
        <p:nvPicPr>
          <p:cNvPr id="6" name="Picture 4" descr="Nelson Mandela, South Africa&amp;#39;s first black president in history, dies at 95">
            <a:extLst>
              <a:ext uri="{FF2B5EF4-FFF2-40B4-BE49-F238E27FC236}">
                <a16:creationId xmlns:a16="http://schemas.microsoft.com/office/drawing/2014/main" id="{0CE0486E-3187-4A07-9E57-70EF6DECE6D4}"/>
              </a:ext>
            </a:extLst>
          </p:cNvPr>
          <p:cNvPicPr>
            <a:picLocks noChangeAspect="1" noChangeArrowheads="1"/>
          </p:cNvPicPr>
          <p:nvPr userDrawn="1"/>
        </p:nvPicPr>
        <p:blipFill rotWithShape="1">
          <a:blip r:embed="rId4">
            <a:extLst>
              <a:ext uri="{28A0092B-C50C-407E-A947-70E740481C1C}">
                <a14:useLocalDpi xmlns:a14="http://schemas.microsoft.com/office/drawing/2010/main" val="0"/>
              </a:ext>
            </a:extLst>
          </a:blip>
          <a:srcRect l="13809" t="-4685" r="-2712" b="4780"/>
          <a:stretch/>
        </p:blipFill>
        <p:spPr bwMode="auto">
          <a:xfrm>
            <a:off x="1" y="-305148"/>
            <a:ext cx="10769599" cy="713029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53155288"/>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8_ 0 All White">
    <p:spTree>
      <p:nvGrpSpPr>
        <p:cNvPr id="1" name=""/>
        <p:cNvGrpSpPr/>
        <p:nvPr/>
      </p:nvGrpSpPr>
      <p:grpSpPr>
        <a:xfrm>
          <a:off x="0" y="0"/>
          <a:ext cx="0" cy="0"/>
          <a:chOff x="0" y="0"/>
          <a:chExt cx="0" cy="0"/>
        </a:xfrm>
      </p:grpSpPr>
      <p:cxnSp>
        <p:nvCxnSpPr>
          <p:cNvPr id="5" name="Conector recto 185">
            <a:extLst>
              <a:ext uri="{FF2B5EF4-FFF2-40B4-BE49-F238E27FC236}">
                <a16:creationId xmlns:a16="http://schemas.microsoft.com/office/drawing/2014/main" id="{15BEB3CA-A99B-403C-973D-1EB6212FAA56}"/>
              </a:ext>
            </a:extLst>
          </p:cNvPr>
          <p:cNvCxnSpPr/>
          <p:nvPr userDrawn="1"/>
        </p:nvCxnSpPr>
        <p:spPr>
          <a:xfrm>
            <a:off x="584742" y="1134368"/>
            <a:ext cx="0" cy="356260"/>
          </a:xfrm>
          <a:prstGeom prst="line">
            <a:avLst/>
          </a:prstGeom>
          <a:noFill/>
          <a:ln w="76200" cap="flat" cmpd="sng" algn="ctr">
            <a:solidFill>
              <a:srgbClr val="EA3A55"/>
            </a:solidFill>
            <a:prstDash val="solid"/>
            <a:miter lim="800000"/>
          </a:ln>
          <a:effectLst/>
        </p:spPr>
      </p:cxnSp>
      <p:pic>
        <p:nvPicPr>
          <p:cNvPr id="4" name="Imagen 3">
            <a:extLst>
              <a:ext uri="{FF2B5EF4-FFF2-40B4-BE49-F238E27FC236}">
                <a16:creationId xmlns:a16="http://schemas.microsoft.com/office/drawing/2014/main" id="{E4D16436-264F-4351-AD6B-1D2232DAB85C}"/>
              </a:ext>
            </a:extLst>
          </p:cNvPr>
          <p:cNvPicPr>
            <a:picLocks noChangeAspect="1"/>
          </p:cNvPicPr>
          <p:nvPr userDrawn="1"/>
        </p:nvPicPr>
        <p:blipFill>
          <a:blip r:embed="rId2">
            <a:duotone>
              <a:prstClr val="black"/>
              <a:srgbClr val="EA3A55">
                <a:tint val="45000"/>
                <a:satMod val="400000"/>
              </a:srgbClr>
            </a:duotone>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509884" y="141471"/>
            <a:ext cx="1502833" cy="376285"/>
          </a:xfrm>
          <a:prstGeom prst="rect">
            <a:avLst/>
          </a:prstGeom>
        </p:spPr>
      </p:pic>
    </p:spTree>
    <p:extLst>
      <p:ext uri="{BB962C8B-B14F-4D97-AF65-F5344CB8AC3E}">
        <p14:creationId xmlns:p14="http://schemas.microsoft.com/office/powerpoint/2010/main" val="14460751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1_ 0 All White">
    <p:spTree>
      <p:nvGrpSpPr>
        <p:cNvPr id="1" name=""/>
        <p:cNvGrpSpPr/>
        <p:nvPr/>
      </p:nvGrpSpPr>
      <p:grpSpPr>
        <a:xfrm>
          <a:off x="0" y="0"/>
          <a:ext cx="0" cy="0"/>
          <a:chOff x="0" y="0"/>
          <a:chExt cx="0" cy="0"/>
        </a:xfrm>
      </p:grpSpPr>
      <p:cxnSp>
        <p:nvCxnSpPr>
          <p:cNvPr id="5" name="Conector recto 185">
            <a:extLst>
              <a:ext uri="{FF2B5EF4-FFF2-40B4-BE49-F238E27FC236}">
                <a16:creationId xmlns:a16="http://schemas.microsoft.com/office/drawing/2014/main" id="{15BEB3CA-A99B-403C-973D-1EB6212FAA56}"/>
              </a:ext>
            </a:extLst>
          </p:cNvPr>
          <p:cNvCxnSpPr/>
          <p:nvPr userDrawn="1"/>
        </p:nvCxnSpPr>
        <p:spPr>
          <a:xfrm>
            <a:off x="584742" y="258068"/>
            <a:ext cx="0" cy="356260"/>
          </a:xfrm>
          <a:prstGeom prst="line">
            <a:avLst/>
          </a:prstGeom>
          <a:noFill/>
          <a:ln w="76200" cap="flat" cmpd="sng" algn="ctr">
            <a:solidFill>
              <a:srgbClr val="EA3A55"/>
            </a:solidFill>
            <a:prstDash val="solid"/>
            <a:miter lim="800000"/>
          </a:ln>
          <a:effectLst/>
        </p:spPr>
      </p:cxnSp>
      <p:pic>
        <p:nvPicPr>
          <p:cNvPr id="4" name="Imagen 3">
            <a:extLst>
              <a:ext uri="{FF2B5EF4-FFF2-40B4-BE49-F238E27FC236}">
                <a16:creationId xmlns:a16="http://schemas.microsoft.com/office/drawing/2014/main" id="{E4D16436-264F-4351-AD6B-1D2232DAB85C}"/>
              </a:ext>
            </a:extLst>
          </p:cNvPr>
          <p:cNvPicPr>
            <a:picLocks noChangeAspect="1"/>
          </p:cNvPicPr>
          <p:nvPr userDrawn="1"/>
        </p:nvPicPr>
        <p:blipFill>
          <a:blip r:embed="rId2">
            <a:duotone>
              <a:prstClr val="black"/>
              <a:srgbClr val="EA3A55">
                <a:tint val="45000"/>
                <a:satMod val="400000"/>
              </a:srgbClr>
            </a:duotone>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509884" y="141471"/>
            <a:ext cx="1502833" cy="376285"/>
          </a:xfrm>
          <a:prstGeom prst="rect">
            <a:avLst/>
          </a:prstGeom>
        </p:spPr>
      </p:pic>
    </p:spTree>
    <p:extLst>
      <p:ext uri="{BB962C8B-B14F-4D97-AF65-F5344CB8AC3E}">
        <p14:creationId xmlns:p14="http://schemas.microsoft.com/office/powerpoint/2010/main" val="361798865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A281CDC-D1D4-4F04-9840-456D23352707}"/>
              </a:ext>
            </a:extLst>
          </p:cNvPr>
          <p:cNvGraphicFramePr>
            <a:graphicFrameLocks noChangeAspect="1"/>
          </p:cNvGraphicFramePr>
          <p:nvPr userDrawn="1">
            <p:custDataLst>
              <p:tags r:id="rId16"/>
            </p:custDataLst>
            <p:extLst>
              <p:ext uri="{D42A27DB-BD31-4B8C-83A1-F6EECF244321}">
                <p14:modId xmlns:p14="http://schemas.microsoft.com/office/powerpoint/2010/main" val="24567704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8" imgW="498" imgH="499" progId="TCLayout.ActiveDocument.1">
                  <p:embed/>
                </p:oleObj>
              </mc:Choice>
              <mc:Fallback>
                <p:oleObj name="think-cell Slide" r:id="rId18" imgW="498" imgH="499" progId="TCLayout.ActiveDocument.1">
                  <p:embed/>
                  <p:pic>
                    <p:nvPicPr>
                      <p:cNvPr id="5" name="Object 4" hidden="1">
                        <a:extLst>
                          <a:ext uri="{FF2B5EF4-FFF2-40B4-BE49-F238E27FC236}">
                            <a16:creationId xmlns:a16="http://schemas.microsoft.com/office/drawing/2014/main" id="{0A281CDC-D1D4-4F04-9840-456D23352707}"/>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1BD1DB-0BED-4B26-9D4D-918AD44E57CF}"/>
              </a:ext>
            </a:extLst>
          </p:cNvPr>
          <p:cNvSpPr/>
          <p:nvPr userDrawn="1">
            <p:custDataLst>
              <p:tags r:id="rId17"/>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ctr"/>
            <a:endParaRPr lang="en-US" sz="2399" b="0" i="0" baseline="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Placeholder 1"/>
          <p:cNvSpPr>
            <a:spLocks noGrp="1"/>
          </p:cNvSpPr>
          <p:nvPr>
            <p:ph type="title"/>
          </p:nvPr>
        </p:nvSpPr>
        <p:spPr>
          <a:xfrm>
            <a:off x="609601" y="294200"/>
            <a:ext cx="10972800" cy="59088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609601" y="1137920"/>
            <a:ext cx="10972800"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023246918"/>
      </p:ext>
    </p:extLst>
  </p:cSld>
  <p:clrMap bg1="lt1" tx1="dk1" bg2="lt2" tx2="dk2" accent1="accent1" accent2="accent2" accent3="accent3" accent4="accent4" accent5="accent5" accent6="accent6" hlink="hlink" folHlink="folHlink"/>
  <p:sldLayoutIdLst>
    <p:sldLayoutId id="2147483712" r:id="rId1"/>
    <p:sldLayoutId id="2147483670" r:id="rId2"/>
    <p:sldLayoutId id="2147483699" r:id="rId3"/>
    <p:sldLayoutId id="2147483711" r:id="rId4"/>
    <p:sldLayoutId id="2147483985" r:id="rId5"/>
    <p:sldLayoutId id="2147483983" r:id="rId6"/>
    <p:sldLayoutId id="2147484017" r:id="rId7"/>
    <p:sldLayoutId id="2147483986" r:id="rId8"/>
    <p:sldLayoutId id="2147484018" r:id="rId9"/>
    <p:sldLayoutId id="2147484021" r:id="rId10"/>
    <p:sldLayoutId id="2147483987" r:id="rId11"/>
    <p:sldLayoutId id="2147484020" r:id="rId12"/>
    <p:sldLayoutId id="2147483991" r:id="rId13"/>
    <p:sldLayoutId id="2147484019" r:id="rId14"/>
  </p:sldLayoutIdLst>
  <p:hf hdr="0"/>
  <p:txStyles>
    <p:titleStyle>
      <a:lvl1pPr algn="l" defTabSz="913943" rtl="0" eaLnBrk="1" latinLnBrk="0" hangingPunct="1">
        <a:lnSpc>
          <a:spcPct val="85000"/>
        </a:lnSpc>
        <a:spcBef>
          <a:spcPct val="0"/>
        </a:spcBef>
        <a:buNone/>
        <a:defRPr sz="2399" b="0" kern="1200">
          <a:solidFill>
            <a:schemeClr val="bg1"/>
          </a:solidFill>
          <a:latin typeface="EYInterstate Light" panose="02000506000000020004" pitchFamily="2" charset="0"/>
          <a:ea typeface="+mj-ea"/>
          <a:cs typeface="Arial" pitchFamily="34" charset="0"/>
        </a:defRPr>
      </a:lvl1pPr>
    </p:titleStyle>
    <p:bodyStyle>
      <a:lvl1pPr marL="356438" indent="-356438" algn="l" defTabSz="913943" rtl="0" eaLnBrk="1" latinLnBrk="0" hangingPunct="1">
        <a:spcBef>
          <a:spcPct val="20000"/>
        </a:spcBef>
        <a:buClr>
          <a:schemeClr val="tx2"/>
        </a:buClr>
        <a:buSzPct val="110000"/>
        <a:buFont typeface="EYInterstate Light" panose="02000506000000020004" pitchFamily="2" charset="0"/>
        <a:buChar char="•"/>
        <a:defRPr sz="19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tx2"/>
        </a:buClr>
        <a:buSzPct val="110000"/>
        <a:buFont typeface="EYInterstate Light" panose="02000506000000020004" pitchFamily="2" charset="0"/>
        <a:buChar char="•"/>
        <a:defRPr sz="17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tx2"/>
        </a:buClr>
        <a:buSzPct val="110000"/>
        <a:buFont typeface="EYInterstate Light" panose="02000506000000020004" pitchFamily="2" charset="0"/>
        <a:buChar char="•"/>
        <a:defRPr sz="15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tx2"/>
        </a:buClr>
        <a:buSzPct val="110000"/>
        <a:buFont typeface="EYInterstate Light" panose="02000506000000020004" pitchFamily="2" charset="0"/>
        <a:buChar char="•"/>
        <a:defRPr sz="13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tx2"/>
        </a:buClr>
        <a:buSzPct val="110000"/>
        <a:buFont typeface="EYInterstate Light" panose="02000506000000020004" pitchFamily="2"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xml"/><Relationship Id="rId1" Type="http://schemas.openxmlformats.org/officeDocument/2006/relationships/slideLayout" Target="../slideLayouts/slideLayout6.xml"/><Relationship Id="rId6" Type="http://schemas.openxmlformats.org/officeDocument/2006/relationships/image" Target="../media/image10.png"/><Relationship Id="rId5" Type="http://schemas.openxmlformats.org/officeDocument/2006/relationships/image" Target="../media/image9.svg"/><Relationship Id="rId4" Type="http://schemas.openxmlformats.org/officeDocument/2006/relationships/image" Target="../media/image8.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10.xml"/><Relationship Id="rId4" Type="http://schemas.openxmlformats.org/officeDocument/2006/relationships/image" Target="../media/image12.svg"/></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xml"/><Relationship Id="rId1" Type="http://schemas.openxmlformats.org/officeDocument/2006/relationships/slideLayout" Target="../slideLayouts/slideLayout10.xml"/><Relationship Id="rId4" Type="http://schemas.openxmlformats.org/officeDocument/2006/relationships/image" Target="../media/image14.sv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8.xml"/><Relationship Id="rId1" Type="http://schemas.openxmlformats.org/officeDocument/2006/relationships/slideLayout" Target="../slideLayouts/slideLayout10.xml"/><Relationship Id="rId4" Type="http://schemas.openxmlformats.org/officeDocument/2006/relationships/image" Target="../media/image16.sv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id="{DB93BF36-213B-47FF-AD74-12BD8DA044FF}"/>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Marcador de texto 5">
            <a:extLst>
              <a:ext uri="{FF2B5EF4-FFF2-40B4-BE49-F238E27FC236}">
                <a16:creationId xmlns:a16="http://schemas.microsoft.com/office/drawing/2014/main" id="{4F9DB30C-B311-4C6B-A32E-4858E3288E77}"/>
              </a:ext>
            </a:extLst>
          </p:cNvPr>
          <p:cNvSpPr txBox="1">
            <a:spLocks/>
          </p:cNvSpPr>
          <p:nvPr/>
        </p:nvSpPr>
        <p:spPr>
          <a:xfrm>
            <a:off x="751791" y="2167546"/>
            <a:ext cx="10413514" cy="4064812"/>
          </a:xfrm>
          <a:prstGeom prst="rect">
            <a:avLst/>
          </a:prstGeom>
        </p:spPr>
        <p:txBody>
          <a:bodyPr lIns="91440" tIns="45720" rIns="91440" bIns="45720" anchor="t"/>
          <a:lst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es-ES_tradnl" sz="4400" cap="all" dirty="0">
                <a:solidFill>
                  <a:srgbClr val="453192"/>
                </a:solidFill>
                <a:latin typeface="Arial"/>
                <a:cs typeface="Arial"/>
              </a:rPr>
              <a:t>CHALLENGE</a:t>
            </a:r>
          </a:p>
          <a:p>
            <a:r>
              <a:rPr lang="es-ES_tradnl" sz="4800" cap="all" dirty="0">
                <a:solidFill>
                  <a:srgbClr val="453192"/>
                </a:solidFill>
                <a:highlight>
                  <a:srgbClr val="FFFFFF"/>
                </a:highlight>
                <a:latin typeface="Arial"/>
                <a:cs typeface="Arial"/>
              </a:rPr>
              <a:t>Creciendo juntas</a:t>
            </a:r>
          </a:p>
          <a:p>
            <a:r>
              <a:rPr lang="es-ES_tradnl" sz="4800" cap="all" dirty="0">
                <a:solidFill>
                  <a:srgbClr val="453192"/>
                </a:solidFill>
                <a:highlight>
                  <a:srgbClr val="FFFFFF"/>
                </a:highlight>
                <a:latin typeface="Arial"/>
                <a:cs typeface="Arial"/>
              </a:rPr>
              <a:t>En las américas</a:t>
            </a:r>
          </a:p>
          <a:p>
            <a:r>
              <a:rPr lang="es-ES_tradnl" b="0" cap="all" dirty="0" err="1">
                <a:solidFill>
                  <a:schemeClr val="bg1"/>
                </a:solidFill>
                <a:latin typeface="Arial"/>
                <a:cs typeface="Arial"/>
              </a:rPr>
              <a:t>Challenge</a:t>
            </a:r>
            <a:r>
              <a:rPr lang="es-ES_tradnl" b="0" cap="all" dirty="0">
                <a:solidFill>
                  <a:schemeClr val="bg1"/>
                </a:solidFill>
                <a:latin typeface="Arial"/>
                <a:cs typeface="Arial"/>
              </a:rPr>
              <a:t> de </a:t>
            </a:r>
            <a:r>
              <a:rPr lang="en-US" b="0" cap="all" dirty="0" err="1">
                <a:solidFill>
                  <a:schemeClr val="bg1"/>
                </a:solidFill>
                <a:latin typeface="Arial"/>
                <a:cs typeface="Arial"/>
              </a:rPr>
              <a:t>TRansformación</a:t>
            </a:r>
            <a:r>
              <a:rPr lang="en-US" b="0" cap="all" dirty="0">
                <a:solidFill>
                  <a:schemeClr val="bg1"/>
                </a:solidFill>
                <a:latin typeface="Arial"/>
                <a:cs typeface="Arial"/>
              </a:rPr>
              <a:t> Digital para la </a:t>
            </a:r>
            <a:r>
              <a:rPr lang="en-US" b="0" cap="all" dirty="0" err="1">
                <a:solidFill>
                  <a:schemeClr val="bg1"/>
                </a:solidFill>
                <a:latin typeface="Arial"/>
                <a:cs typeface="Arial"/>
              </a:rPr>
              <a:t>Internacionalización</a:t>
            </a:r>
            <a:endParaRPr lang="en-US" b="0" cap="all" dirty="0">
              <a:solidFill>
                <a:schemeClr val="bg1"/>
              </a:solidFill>
              <a:latin typeface="Arial"/>
              <a:cs typeface="Arial"/>
            </a:endParaRPr>
          </a:p>
          <a:p>
            <a:r>
              <a:rPr lang="es-ES_tradnl" b="0" cap="all" dirty="0">
                <a:solidFill>
                  <a:schemeClr val="bg1"/>
                </a:solidFill>
                <a:latin typeface="Arial"/>
                <a:cs typeface="Arial"/>
              </a:rPr>
              <a:t> </a:t>
            </a:r>
          </a:p>
        </p:txBody>
      </p:sp>
      <p:pic>
        <p:nvPicPr>
          <p:cNvPr id="10" name="Gráfico 9">
            <a:extLst>
              <a:ext uri="{FF2B5EF4-FFF2-40B4-BE49-F238E27FC236}">
                <a16:creationId xmlns:a16="http://schemas.microsoft.com/office/drawing/2014/main" id="{C814B732-139D-411F-B25D-7826D09F8C40}"/>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26695" y="1010652"/>
            <a:ext cx="2955591" cy="1690939"/>
          </a:xfrm>
          <a:prstGeom prst="rect">
            <a:avLst/>
          </a:prstGeom>
        </p:spPr>
      </p:pic>
      <p:pic>
        <p:nvPicPr>
          <p:cNvPr id="13" name="Picture 6">
            <a:extLst>
              <a:ext uri="{FF2B5EF4-FFF2-40B4-BE49-F238E27FC236}">
                <a16:creationId xmlns:a16="http://schemas.microsoft.com/office/drawing/2014/main" id="{B2FCE2D2-FCC1-4111-8F70-065A2D2577D7}"/>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826225" y="5620207"/>
            <a:ext cx="1388232" cy="587329"/>
          </a:xfrm>
          <a:prstGeom prst="rect">
            <a:avLst/>
          </a:prstGeom>
        </p:spPr>
      </p:pic>
    </p:spTree>
    <p:extLst>
      <p:ext uri="{BB962C8B-B14F-4D97-AF65-F5344CB8AC3E}">
        <p14:creationId xmlns:p14="http://schemas.microsoft.com/office/powerpoint/2010/main" val="31882893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C3E24BFF-A0DB-4ECE-96D3-5EAB937B7323}"/>
              </a:ext>
            </a:extLst>
          </p:cNvPr>
          <p:cNvSpPr txBox="1"/>
          <p:nvPr/>
        </p:nvSpPr>
        <p:spPr>
          <a:xfrm>
            <a:off x="553451" y="536669"/>
            <a:ext cx="10838046" cy="901593"/>
          </a:xfrm>
          <a:prstGeom prst="rect">
            <a:avLst/>
          </a:prstGeom>
          <a:noFill/>
        </p:spPr>
        <p:txBody>
          <a:bodyPr wrap="square" rtlCol="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lang="en-GB" sz="4000" b="1" dirty="0">
                <a:solidFill>
                  <a:prstClr val="white"/>
                </a:solidFill>
                <a:latin typeface="Arial" panose="020B0604020202020204" pitchFamily="34" charset="0"/>
                <a:cs typeface="Arial" panose="020B0604020202020204" pitchFamily="34" charset="0"/>
              </a:rPr>
              <a:t>RETO GRUPAL</a:t>
            </a:r>
            <a:r>
              <a:rPr lang="es-CO" sz="4000" b="1" dirty="0">
                <a:solidFill>
                  <a:srgbClr val="000000"/>
                </a:solidFill>
                <a:latin typeface="Arial" panose="020B0604020202020204" pitchFamily="34" charset="0"/>
                <a:cs typeface="Arial" panose="020B0604020202020204" pitchFamily="34" charset="0"/>
              </a:rPr>
              <a:t> </a:t>
            </a:r>
            <a:r>
              <a:rPr lang="es-CO" sz="4000" b="1" dirty="0">
                <a:solidFill>
                  <a:schemeClr val="bg1"/>
                </a:solidFill>
                <a:latin typeface="Arial" panose="020B0604020202020204" pitchFamily="34" charset="0"/>
                <a:cs typeface="Arial" panose="020B0604020202020204" pitchFamily="34" charset="0"/>
              </a:rPr>
              <a:t>“CUSTOMER JOURNEY”</a:t>
            </a:r>
            <a:endParaRPr lang="en-GB" sz="4000" b="1" dirty="0">
              <a:solidFill>
                <a:schemeClr val="bg1"/>
              </a:solidFill>
              <a:latin typeface="Arial" panose="020B0604020202020204" pitchFamily="34" charset="0"/>
              <a:cs typeface="Arial" panose="020B0604020202020204" pitchFamily="34" charset="0"/>
            </a:endParaRPr>
          </a:p>
        </p:txBody>
      </p:sp>
      <p:graphicFrame>
        <p:nvGraphicFramePr>
          <p:cNvPr id="2" name="Table 2">
            <a:extLst>
              <a:ext uri="{FF2B5EF4-FFF2-40B4-BE49-F238E27FC236}">
                <a16:creationId xmlns:a16="http://schemas.microsoft.com/office/drawing/2014/main" id="{90C4ECCF-9B28-475A-8668-643F413BD5F2}"/>
              </a:ext>
            </a:extLst>
          </p:cNvPr>
          <p:cNvGraphicFramePr>
            <a:graphicFrameLocks noGrp="1"/>
          </p:cNvGraphicFramePr>
          <p:nvPr>
            <p:extLst>
              <p:ext uri="{D42A27DB-BD31-4B8C-83A1-F6EECF244321}">
                <p14:modId xmlns:p14="http://schemas.microsoft.com/office/powerpoint/2010/main" val="4293538051"/>
              </p:ext>
            </p:extLst>
          </p:nvPr>
        </p:nvGraphicFramePr>
        <p:xfrm>
          <a:off x="1198033" y="3225919"/>
          <a:ext cx="9795934" cy="3019212"/>
        </p:xfrm>
        <a:graphic>
          <a:graphicData uri="http://schemas.openxmlformats.org/drawingml/2006/table">
            <a:tbl>
              <a:tblPr firstRow="1" bandRow="1">
                <a:tableStyleId>{00A15C55-8517-42AA-B614-E9B94910E393}</a:tableStyleId>
              </a:tblPr>
              <a:tblGrid>
                <a:gridCol w="4897967">
                  <a:extLst>
                    <a:ext uri="{9D8B030D-6E8A-4147-A177-3AD203B41FA5}">
                      <a16:colId xmlns:a16="http://schemas.microsoft.com/office/drawing/2014/main" val="2726736430"/>
                    </a:ext>
                  </a:extLst>
                </a:gridCol>
                <a:gridCol w="4897967">
                  <a:extLst>
                    <a:ext uri="{9D8B030D-6E8A-4147-A177-3AD203B41FA5}">
                      <a16:colId xmlns:a16="http://schemas.microsoft.com/office/drawing/2014/main" val="728345699"/>
                    </a:ext>
                  </a:extLst>
                </a:gridCol>
              </a:tblGrid>
              <a:tr h="431316">
                <a:tc>
                  <a:txBody>
                    <a:bodyPr/>
                    <a:lstStyle/>
                    <a:p>
                      <a:r>
                        <a:rPr lang="es-CO" dirty="0"/>
                        <a:t>Nombre completo</a:t>
                      </a:r>
                    </a:p>
                  </a:txBody>
                  <a:tcPr/>
                </a:tc>
                <a:tc>
                  <a:txBody>
                    <a:bodyPr/>
                    <a:lstStyle/>
                    <a:p>
                      <a:r>
                        <a:rPr lang="es-CO" dirty="0"/>
                        <a:t>Correo electrónico</a:t>
                      </a:r>
                    </a:p>
                  </a:txBody>
                  <a:tcPr/>
                </a:tc>
                <a:extLst>
                  <a:ext uri="{0D108BD9-81ED-4DB2-BD59-A6C34878D82A}">
                    <a16:rowId xmlns:a16="http://schemas.microsoft.com/office/drawing/2014/main" val="1227350454"/>
                  </a:ext>
                </a:extLst>
              </a:tr>
              <a:tr h="431316">
                <a:tc>
                  <a:txBody>
                    <a:bodyPr/>
                    <a:lstStyle/>
                    <a:p>
                      <a:endParaRPr lang="es-CO" dirty="0">
                        <a:solidFill>
                          <a:schemeClr val="tx1"/>
                        </a:solidFill>
                      </a:endParaRPr>
                    </a:p>
                  </a:txBody>
                  <a:tcPr/>
                </a:tc>
                <a:tc>
                  <a:txBody>
                    <a:bodyPr/>
                    <a:lstStyle/>
                    <a:p>
                      <a:endParaRPr lang="es-CO">
                        <a:solidFill>
                          <a:schemeClr val="tx1"/>
                        </a:solidFill>
                      </a:endParaRPr>
                    </a:p>
                  </a:txBody>
                  <a:tcPr/>
                </a:tc>
                <a:extLst>
                  <a:ext uri="{0D108BD9-81ED-4DB2-BD59-A6C34878D82A}">
                    <a16:rowId xmlns:a16="http://schemas.microsoft.com/office/drawing/2014/main" val="1735040114"/>
                  </a:ext>
                </a:extLst>
              </a:tr>
              <a:tr h="431316">
                <a:tc>
                  <a:txBody>
                    <a:bodyPr/>
                    <a:lstStyle/>
                    <a:p>
                      <a:endParaRPr lang="es-CO" dirty="0">
                        <a:solidFill>
                          <a:schemeClr val="tx1"/>
                        </a:solidFill>
                      </a:endParaRPr>
                    </a:p>
                  </a:txBody>
                  <a:tcPr/>
                </a:tc>
                <a:tc>
                  <a:txBody>
                    <a:bodyPr/>
                    <a:lstStyle/>
                    <a:p>
                      <a:endParaRPr lang="es-CO">
                        <a:solidFill>
                          <a:schemeClr val="tx1"/>
                        </a:solidFill>
                      </a:endParaRPr>
                    </a:p>
                  </a:txBody>
                  <a:tcPr/>
                </a:tc>
                <a:extLst>
                  <a:ext uri="{0D108BD9-81ED-4DB2-BD59-A6C34878D82A}">
                    <a16:rowId xmlns:a16="http://schemas.microsoft.com/office/drawing/2014/main" val="2250299672"/>
                  </a:ext>
                </a:extLst>
              </a:tr>
              <a:tr h="431316">
                <a:tc>
                  <a:txBody>
                    <a:bodyPr/>
                    <a:lstStyle/>
                    <a:p>
                      <a:endParaRPr lang="es-CO" dirty="0">
                        <a:solidFill>
                          <a:schemeClr val="tx1"/>
                        </a:solidFill>
                      </a:endParaRPr>
                    </a:p>
                  </a:txBody>
                  <a:tcPr/>
                </a:tc>
                <a:tc>
                  <a:txBody>
                    <a:bodyPr/>
                    <a:lstStyle/>
                    <a:p>
                      <a:endParaRPr lang="es-CO" dirty="0">
                        <a:solidFill>
                          <a:schemeClr val="tx1"/>
                        </a:solidFill>
                      </a:endParaRPr>
                    </a:p>
                  </a:txBody>
                  <a:tcPr/>
                </a:tc>
                <a:extLst>
                  <a:ext uri="{0D108BD9-81ED-4DB2-BD59-A6C34878D82A}">
                    <a16:rowId xmlns:a16="http://schemas.microsoft.com/office/drawing/2014/main" val="3285541758"/>
                  </a:ext>
                </a:extLst>
              </a:tr>
              <a:tr h="431316">
                <a:tc>
                  <a:txBody>
                    <a:bodyPr/>
                    <a:lstStyle/>
                    <a:p>
                      <a:endParaRPr lang="es-CO">
                        <a:solidFill>
                          <a:schemeClr val="tx1"/>
                        </a:solidFill>
                      </a:endParaRPr>
                    </a:p>
                  </a:txBody>
                  <a:tcPr/>
                </a:tc>
                <a:tc>
                  <a:txBody>
                    <a:bodyPr/>
                    <a:lstStyle/>
                    <a:p>
                      <a:endParaRPr lang="es-CO" dirty="0">
                        <a:solidFill>
                          <a:schemeClr val="tx1"/>
                        </a:solidFill>
                      </a:endParaRPr>
                    </a:p>
                  </a:txBody>
                  <a:tcPr/>
                </a:tc>
                <a:extLst>
                  <a:ext uri="{0D108BD9-81ED-4DB2-BD59-A6C34878D82A}">
                    <a16:rowId xmlns:a16="http://schemas.microsoft.com/office/drawing/2014/main" val="4040995841"/>
                  </a:ext>
                </a:extLst>
              </a:tr>
              <a:tr h="431316">
                <a:tc>
                  <a:txBody>
                    <a:bodyPr/>
                    <a:lstStyle/>
                    <a:p>
                      <a:endParaRPr lang="es-CO">
                        <a:solidFill>
                          <a:schemeClr val="tx1"/>
                        </a:solidFill>
                      </a:endParaRPr>
                    </a:p>
                  </a:txBody>
                  <a:tcPr/>
                </a:tc>
                <a:tc>
                  <a:txBody>
                    <a:bodyPr/>
                    <a:lstStyle/>
                    <a:p>
                      <a:endParaRPr lang="es-CO" dirty="0">
                        <a:solidFill>
                          <a:schemeClr val="tx1"/>
                        </a:solidFill>
                      </a:endParaRPr>
                    </a:p>
                  </a:txBody>
                  <a:tcPr/>
                </a:tc>
                <a:extLst>
                  <a:ext uri="{0D108BD9-81ED-4DB2-BD59-A6C34878D82A}">
                    <a16:rowId xmlns:a16="http://schemas.microsoft.com/office/drawing/2014/main" val="2981588468"/>
                  </a:ext>
                </a:extLst>
              </a:tr>
              <a:tr h="431316">
                <a:tc>
                  <a:txBody>
                    <a:bodyPr/>
                    <a:lstStyle/>
                    <a:p>
                      <a:endParaRPr lang="es-CO" dirty="0">
                        <a:solidFill>
                          <a:schemeClr val="tx1"/>
                        </a:solidFill>
                      </a:endParaRPr>
                    </a:p>
                  </a:txBody>
                  <a:tcPr/>
                </a:tc>
                <a:tc>
                  <a:txBody>
                    <a:bodyPr/>
                    <a:lstStyle/>
                    <a:p>
                      <a:endParaRPr lang="es-CO" dirty="0">
                        <a:solidFill>
                          <a:schemeClr val="tx1"/>
                        </a:solidFill>
                      </a:endParaRPr>
                    </a:p>
                  </a:txBody>
                  <a:tcPr/>
                </a:tc>
                <a:extLst>
                  <a:ext uri="{0D108BD9-81ED-4DB2-BD59-A6C34878D82A}">
                    <a16:rowId xmlns:a16="http://schemas.microsoft.com/office/drawing/2014/main" val="4284141257"/>
                  </a:ext>
                </a:extLst>
              </a:tr>
            </a:tbl>
          </a:graphicData>
        </a:graphic>
      </p:graphicFrame>
      <p:sp>
        <p:nvSpPr>
          <p:cNvPr id="9" name="TextBox 8">
            <a:extLst>
              <a:ext uri="{FF2B5EF4-FFF2-40B4-BE49-F238E27FC236}">
                <a16:creationId xmlns:a16="http://schemas.microsoft.com/office/drawing/2014/main" id="{C46E46B2-8DA6-4180-BE6E-D6D94C9C18D5}"/>
              </a:ext>
            </a:extLst>
          </p:cNvPr>
          <p:cNvSpPr txBox="1"/>
          <p:nvPr/>
        </p:nvSpPr>
        <p:spPr>
          <a:xfrm>
            <a:off x="639233" y="1611936"/>
            <a:ext cx="10752264" cy="1287532"/>
          </a:xfrm>
          <a:prstGeom prst="rect">
            <a:avLst/>
          </a:prstGeom>
          <a:noFill/>
        </p:spPr>
        <p:txBody>
          <a:bodyPr wrap="square" rtlCol="0">
            <a:spAutoFit/>
          </a:bodyPr>
          <a:lstStyle/>
          <a:p>
            <a:pPr marL="285750" marR="0" lvl="0" indent="-285750"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GB" dirty="0" err="1">
                <a:solidFill>
                  <a:schemeClr val="bg1"/>
                </a:solidFill>
                <a:latin typeface="Arial" panose="020B0604020202020204" pitchFamily="34" charset="0"/>
                <a:cs typeface="Arial" panose="020B0604020202020204" pitchFamily="34" charset="0"/>
              </a:rPr>
              <a:t>En</a:t>
            </a:r>
            <a:r>
              <a:rPr lang="en-GB" dirty="0">
                <a:solidFill>
                  <a:schemeClr val="bg1"/>
                </a:solidFill>
                <a:latin typeface="Arial" panose="020B0604020202020204" pitchFamily="34" charset="0"/>
                <a:cs typeface="Arial" panose="020B0604020202020204" pitchFamily="34" charset="0"/>
              </a:rPr>
              <a:t> la </a:t>
            </a:r>
            <a:r>
              <a:rPr lang="en-GB" dirty="0" err="1">
                <a:solidFill>
                  <a:schemeClr val="bg1"/>
                </a:solidFill>
                <a:latin typeface="Arial" panose="020B0604020202020204" pitchFamily="34" charset="0"/>
                <a:cs typeface="Arial" panose="020B0604020202020204" pitchFamily="34" charset="0"/>
              </a:rPr>
              <a:t>siguiente</a:t>
            </a:r>
            <a:r>
              <a:rPr lang="en-GB" dirty="0">
                <a:solidFill>
                  <a:schemeClr val="bg1"/>
                </a:solidFill>
                <a:latin typeface="Arial" panose="020B0604020202020204" pitchFamily="34" charset="0"/>
                <a:cs typeface="Arial" panose="020B0604020202020204" pitchFamily="34" charset="0"/>
              </a:rPr>
              <a:t> </a:t>
            </a:r>
            <a:r>
              <a:rPr lang="en-GB" dirty="0" err="1">
                <a:solidFill>
                  <a:schemeClr val="bg1"/>
                </a:solidFill>
                <a:latin typeface="Arial" panose="020B0604020202020204" pitchFamily="34" charset="0"/>
                <a:cs typeface="Arial" panose="020B0604020202020204" pitchFamily="34" charset="0"/>
              </a:rPr>
              <a:t>tabla</a:t>
            </a:r>
            <a:r>
              <a:rPr lang="en-GB" dirty="0">
                <a:solidFill>
                  <a:schemeClr val="bg1"/>
                </a:solidFill>
                <a:latin typeface="Arial" panose="020B0604020202020204" pitchFamily="34" charset="0"/>
                <a:cs typeface="Arial" panose="020B0604020202020204" pitchFamily="34" charset="0"/>
              </a:rPr>
              <a:t> </a:t>
            </a:r>
            <a:r>
              <a:rPr lang="en-GB" dirty="0" err="1">
                <a:solidFill>
                  <a:schemeClr val="bg1"/>
                </a:solidFill>
                <a:latin typeface="Arial" panose="020B0604020202020204" pitchFamily="34" charset="0"/>
                <a:cs typeface="Arial" panose="020B0604020202020204" pitchFamily="34" charset="0"/>
              </a:rPr>
              <a:t>escriban</a:t>
            </a:r>
            <a:r>
              <a:rPr lang="en-GB" dirty="0">
                <a:solidFill>
                  <a:schemeClr val="bg1"/>
                </a:solidFill>
                <a:latin typeface="Arial" panose="020B0604020202020204" pitchFamily="34" charset="0"/>
                <a:cs typeface="Arial" panose="020B0604020202020204" pitchFamily="34" charset="0"/>
              </a:rPr>
              <a:t> los </a:t>
            </a:r>
            <a:r>
              <a:rPr lang="en-GB" b="1" dirty="0" err="1">
                <a:solidFill>
                  <a:schemeClr val="bg1"/>
                </a:solidFill>
                <a:highlight>
                  <a:srgbClr val="EA3A55"/>
                </a:highlight>
                <a:latin typeface="Arial" panose="020B0604020202020204" pitchFamily="34" charset="0"/>
                <a:cs typeface="Arial" panose="020B0604020202020204" pitchFamily="34" charset="0"/>
              </a:rPr>
              <a:t>nombres</a:t>
            </a:r>
            <a:r>
              <a:rPr lang="en-GB" dirty="0">
                <a:solidFill>
                  <a:schemeClr val="bg1"/>
                </a:solidFill>
                <a:latin typeface="Arial" panose="020B0604020202020204" pitchFamily="34" charset="0"/>
                <a:cs typeface="Arial" panose="020B0604020202020204" pitchFamily="34" charset="0"/>
              </a:rPr>
              <a:t> y </a:t>
            </a:r>
            <a:r>
              <a:rPr lang="en-GB" b="1" dirty="0" err="1">
                <a:solidFill>
                  <a:schemeClr val="bg1"/>
                </a:solidFill>
                <a:highlight>
                  <a:srgbClr val="EA3A55"/>
                </a:highlight>
                <a:latin typeface="Arial" panose="020B0604020202020204" pitchFamily="34" charset="0"/>
                <a:cs typeface="Arial" panose="020B0604020202020204" pitchFamily="34" charset="0"/>
              </a:rPr>
              <a:t>correo</a:t>
            </a:r>
            <a:r>
              <a:rPr lang="en-GB" b="1" dirty="0">
                <a:solidFill>
                  <a:schemeClr val="bg1"/>
                </a:solidFill>
                <a:highlight>
                  <a:srgbClr val="EA3A55"/>
                </a:highlight>
                <a:latin typeface="Arial" panose="020B0604020202020204" pitchFamily="34" charset="0"/>
                <a:cs typeface="Arial" panose="020B0604020202020204" pitchFamily="34" charset="0"/>
              </a:rPr>
              <a:t> </a:t>
            </a:r>
            <a:r>
              <a:rPr lang="en-GB" b="1" dirty="0" err="1">
                <a:solidFill>
                  <a:schemeClr val="bg1"/>
                </a:solidFill>
                <a:highlight>
                  <a:srgbClr val="EA3A55"/>
                </a:highlight>
                <a:latin typeface="Arial" panose="020B0604020202020204" pitchFamily="34" charset="0"/>
                <a:cs typeface="Arial" panose="020B0604020202020204" pitchFamily="34" charset="0"/>
              </a:rPr>
              <a:t>electrónico</a:t>
            </a:r>
            <a:r>
              <a:rPr lang="en-GB" b="1" dirty="0">
                <a:solidFill>
                  <a:schemeClr val="bg1"/>
                </a:solidFill>
                <a:highlight>
                  <a:srgbClr val="EA3A55"/>
                </a:highlight>
                <a:latin typeface="Arial" panose="020B0604020202020204" pitchFamily="34" charset="0"/>
                <a:cs typeface="Arial" panose="020B0604020202020204" pitchFamily="34" charset="0"/>
              </a:rPr>
              <a:t> </a:t>
            </a:r>
            <a:r>
              <a:rPr lang="en-GB" dirty="0">
                <a:solidFill>
                  <a:schemeClr val="bg1"/>
                </a:solidFill>
                <a:latin typeface="Arial" panose="020B0604020202020204" pitchFamily="34" charset="0"/>
                <a:cs typeface="Arial" panose="020B0604020202020204" pitchFamily="34" charset="0"/>
              </a:rPr>
              <a:t>de las </a:t>
            </a:r>
            <a:r>
              <a:rPr lang="en-GB" dirty="0" err="1">
                <a:solidFill>
                  <a:schemeClr val="bg1"/>
                </a:solidFill>
                <a:latin typeface="Arial" panose="020B0604020202020204" pitchFamily="34" charset="0"/>
                <a:cs typeface="Arial" panose="020B0604020202020204" pitchFamily="34" charset="0"/>
              </a:rPr>
              <a:t>integrantes</a:t>
            </a:r>
            <a:r>
              <a:rPr lang="en-GB" dirty="0">
                <a:solidFill>
                  <a:schemeClr val="bg1"/>
                </a:solidFill>
                <a:latin typeface="Arial" panose="020B0604020202020204" pitchFamily="34" charset="0"/>
                <a:cs typeface="Arial" panose="020B0604020202020204" pitchFamily="34" charset="0"/>
              </a:rPr>
              <a:t> del </a:t>
            </a:r>
            <a:r>
              <a:rPr lang="en-GB" dirty="0" err="1">
                <a:solidFill>
                  <a:schemeClr val="bg1"/>
                </a:solidFill>
                <a:latin typeface="Arial" panose="020B0604020202020204" pitchFamily="34" charset="0"/>
                <a:cs typeface="Arial" panose="020B0604020202020204" pitchFamily="34" charset="0"/>
              </a:rPr>
              <a:t>grupo</a:t>
            </a:r>
            <a:r>
              <a:rPr lang="en-GB" dirty="0">
                <a:solidFill>
                  <a:schemeClr val="bg1"/>
                </a:solidFill>
                <a:latin typeface="Arial" panose="020B0604020202020204" pitchFamily="34" charset="0"/>
                <a:cs typeface="Arial" panose="020B0604020202020204" pitchFamily="34" charset="0"/>
              </a:rPr>
              <a:t>.</a:t>
            </a:r>
          </a:p>
          <a:p>
            <a:pPr marL="285750" marR="0" lvl="0" indent="-285750"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GB" dirty="0" err="1">
                <a:solidFill>
                  <a:schemeClr val="bg1"/>
                </a:solidFill>
                <a:latin typeface="Arial" panose="020B0604020202020204" pitchFamily="34" charset="0"/>
                <a:cs typeface="Arial" panose="020B0604020202020204" pitchFamily="34" charset="0"/>
              </a:rPr>
              <a:t>Esta</a:t>
            </a:r>
            <a:r>
              <a:rPr lang="en-GB" dirty="0">
                <a:solidFill>
                  <a:schemeClr val="bg1"/>
                </a:solidFill>
                <a:latin typeface="Arial" panose="020B0604020202020204" pitchFamily="34" charset="0"/>
                <a:cs typeface="Arial" panose="020B0604020202020204" pitchFamily="34" charset="0"/>
              </a:rPr>
              <a:t> </a:t>
            </a:r>
            <a:r>
              <a:rPr lang="en-GB" dirty="0" err="1">
                <a:solidFill>
                  <a:schemeClr val="bg1"/>
                </a:solidFill>
                <a:latin typeface="Arial" panose="020B0604020202020204" pitchFamily="34" charset="0"/>
                <a:cs typeface="Arial" panose="020B0604020202020204" pitchFamily="34" charset="0"/>
              </a:rPr>
              <a:t>información</a:t>
            </a:r>
            <a:r>
              <a:rPr lang="en-GB" dirty="0">
                <a:solidFill>
                  <a:schemeClr val="bg1"/>
                </a:solidFill>
                <a:latin typeface="Arial" panose="020B0604020202020204" pitchFamily="34" charset="0"/>
                <a:cs typeface="Arial" panose="020B0604020202020204" pitchFamily="34" charset="0"/>
              </a:rPr>
              <a:t> </a:t>
            </a:r>
            <a:r>
              <a:rPr lang="en-GB" dirty="0" err="1">
                <a:solidFill>
                  <a:schemeClr val="bg1"/>
                </a:solidFill>
                <a:latin typeface="Arial" panose="020B0604020202020204" pitchFamily="34" charset="0"/>
                <a:cs typeface="Arial" panose="020B0604020202020204" pitchFamily="34" charset="0"/>
              </a:rPr>
              <a:t>será</a:t>
            </a:r>
            <a:r>
              <a:rPr lang="en-GB" dirty="0">
                <a:solidFill>
                  <a:schemeClr val="bg1"/>
                </a:solidFill>
                <a:latin typeface="Arial" panose="020B0604020202020204" pitchFamily="34" charset="0"/>
                <a:cs typeface="Arial" panose="020B0604020202020204" pitchFamily="34" charset="0"/>
              </a:rPr>
              <a:t> </a:t>
            </a:r>
            <a:r>
              <a:rPr lang="en-GB" dirty="0" err="1">
                <a:solidFill>
                  <a:schemeClr val="bg1"/>
                </a:solidFill>
                <a:latin typeface="Arial" panose="020B0604020202020204" pitchFamily="34" charset="0"/>
                <a:cs typeface="Arial" panose="020B0604020202020204" pitchFamily="34" charset="0"/>
              </a:rPr>
              <a:t>utilizada</a:t>
            </a:r>
            <a:r>
              <a:rPr lang="en-GB" dirty="0">
                <a:solidFill>
                  <a:schemeClr val="bg1"/>
                </a:solidFill>
                <a:latin typeface="Arial" panose="020B0604020202020204" pitchFamily="34" charset="0"/>
                <a:cs typeface="Arial" panose="020B0604020202020204" pitchFamily="34" charset="0"/>
              </a:rPr>
              <a:t> para </a:t>
            </a:r>
            <a:r>
              <a:rPr lang="en-GB" dirty="0" err="1">
                <a:solidFill>
                  <a:schemeClr val="bg1"/>
                </a:solidFill>
                <a:latin typeface="Arial" panose="020B0604020202020204" pitchFamily="34" charset="0"/>
                <a:cs typeface="Arial" panose="020B0604020202020204" pitchFamily="34" charset="0"/>
              </a:rPr>
              <a:t>cargar</a:t>
            </a:r>
            <a:r>
              <a:rPr lang="en-GB" dirty="0">
                <a:solidFill>
                  <a:schemeClr val="bg1"/>
                </a:solidFill>
                <a:latin typeface="Arial" panose="020B0604020202020204" pitchFamily="34" charset="0"/>
                <a:cs typeface="Arial" panose="020B0604020202020204" pitchFamily="34" charset="0"/>
              </a:rPr>
              <a:t> la </a:t>
            </a:r>
            <a:r>
              <a:rPr lang="en-GB" dirty="0" err="1">
                <a:solidFill>
                  <a:schemeClr val="bg1"/>
                </a:solidFill>
                <a:latin typeface="Arial" panose="020B0604020202020204" pitchFamily="34" charset="0"/>
                <a:cs typeface="Arial" panose="020B0604020202020204" pitchFamily="34" charset="0"/>
              </a:rPr>
              <a:t>calificación</a:t>
            </a:r>
            <a:r>
              <a:rPr lang="en-GB" dirty="0">
                <a:solidFill>
                  <a:schemeClr val="bg1"/>
                </a:solidFill>
                <a:latin typeface="Arial" panose="020B0604020202020204" pitchFamily="34" charset="0"/>
                <a:cs typeface="Arial" panose="020B0604020202020204" pitchFamily="34" charset="0"/>
              </a:rPr>
              <a:t> del </a:t>
            </a:r>
            <a:r>
              <a:rPr lang="en-GB" dirty="0" err="1">
                <a:solidFill>
                  <a:schemeClr val="bg1"/>
                </a:solidFill>
                <a:latin typeface="Arial" panose="020B0604020202020204" pitchFamily="34" charset="0"/>
                <a:cs typeface="Arial" panose="020B0604020202020204" pitchFamily="34" charset="0"/>
              </a:rPr>
              <a:t>reto</a:t>
            </a:r>
            <a:r>
              <a:rPr lang="en-GB" dirty="0">
                <a:solidFill>
                  <a:schemeClr val="bg1"/>
                </a:solidFill>
                <a:latin typeface="Arial" panose="020B0604020202020204" pitchFamily="34" charset="0"/>
                <a:cs typeface="Arial" panose="020B0604020202020204" pitchFamily="34" charset="0"/>
              </a:rPr>
              <a:t> a la Academia </a:t>
            </a:r>
            <a:r>
              <a:rPr lang="en-GB" dirty="0" err="1">
                <a:solidFill>
                  <a:schemeClr val="bg1"/>
                </a:solidFill>
                <a:latin typeface="Arial" panose="020B0604020202020204" pitchFamily="34" charset="0"/>
                <a:cs typeface="Arial" panose="020B0604020202020204" pitchFamily="34" charset="0"/>
              </a:rPr>
              <a:t>ConnectAmericas</a:t>
            </a:r>
            <a:r>
              <a:rPr lang="en-GB" dirty="0">
                <a:solidFill>
                  <a:schemeClr val="bg1"/>
                </a:solidFill>
                <a:latin typeface="Arial" panose="020B0604020202020204" pitchFamily="34" charset="0"/>
                <a:cs typeface="Arial" panose="020B0604020202020204" pitchFamily="34" charset="0"/>
              </a:rPr>
              <a:t>, por lo que es </a:t>
            </a:r>
            <a:r>
              <a:rPr lang="en-GB" dirty="0" err="1">
                <a:solidFill>
                  <a:schemeClr val="bg1"/>
                </a:solidFill>
                <a:latin typeface="Arial" panose="020B0604020202020204" pitchFamily="34" charset="0"/>
                <a:cs typeface="Arial" panose="020B0604020202020204" pitchFamily="34" charset="0"/>
              </a:rPr>
              <a:t>muy</a:t>
            </a:r>
            <a:r>
              <a:rPr lang="en-GB" dirty="0">
                <a:solidFill>
                  <a:schemeClr val="bg1"/>
                </a:solidFill>
                <a:latin typeface="Arial" panose="020B0604020202020204" pitchFamily="34" charset="0"/>
                <a:cs typeface="Arial" panose="020B0604020202020204" pitchFamily="34" charset="0"/>
              </a:rPr>
              <a:t> </a:t>
            </a:r>
            <a:r>
              <a:rPr lang="en-GB" dirty="0" err="1">
                <a:solidFill>
                  <a:schemeClr val="bg1"/>
                </a:solidFill>
                <a:latin typeface="Arial" panose="020B0604020202020204" pitchFamily="34" charset="0"/>
                <a:cs typeface="Arial" panose="020B0604020202020204" pitchFamily="34" charset="0"/>
              </a:rPr>
              <a:t>importante</a:t>
            </a:r>
            <a:r>
              <a:rPr lang="en-GB" dirty="0">
                <a:solidFill>
                  <a:schemeClr val="bg1"/>
                </a:solidFill>
                <a:latin typeface="Arial" panose="020B0604020202020204" pitchFamily="34" charset="0"/>
                <a:cs typeface="Arial" panose="020B0604020202020204" pitchFamily="34" charset="0"/>
              </a:rPr>
              <a:t> que </a:t>
            </a:r>
            <a:r>
              <a:rPr lang="en-GB" dirty="0" err="1">
                <a:solidFill>
                  <a:schemeClr val="bg1"/>
                </a:solidFill>
                <a:latin typeface="Arial" panose="020B0604020202020204" pitchFamily="34" charset="0"/>
                <a:cs typeface="Arial" panose="020B0604020202020204" pitchFamily="34" charset="0"/>
              </a:rPr>
              <a:t>ingresen</a:t>
            </a:r>
            <a:r>
              <a:rPr lang="en-GB" dirty="0">
                <a:solidFill>
                  <a:schemeClr val="bg1"/>
                </a:solidFill>
                <a:latin typeface="Arial" panose="020B0604020202020204" pitchFamily="34" charset="0"/>
                <a:cs typeface="Arial" panose="020B0604020202020204" pitchFamily="34" charset="0"/>
              </a:rPr>
              <a:t> los </a:t>
            </a:r>
            <a:r>
              <a:rPr lang="en-GB" b="1" u="sng" dirty="0" err="1">
                <a:solidFill>
                  <a:schemeClr val="bg1"/>
                </a:solidFill>
                <a:latin typeface="Arial" panose="020B0604020202020204" pitchFamily="34" charset="0"/>
                <a:cs typeface="Arial" panose="020B0604020202020204" pitchFamily="34" charset="0"/>
              </a:rPr>
              <a:t>datos</a:t>
            </a:r>
            <a:r>
              <a:rPr lang="en-GB" b="1" u="sng" dirty="0">
                <a:solidFill>
                  <a:schemeClr val="bg1"/>
                </a:solidFill>
                <a:latin typeface="Arial" panose="020B0604020202020204" pitchFamily="34" charset="0"/>
                <a:cs typeface="Arial" panose="020B0604020202020204" pitchFamily="34" charset="0"/>
              </a:rPr>
              <a:t> </a:t>
            </a:r>
            <a:r>
              <a:rPr lang="en-GB" b="1" u="sng" dirty="0" err="1">
                <a:solidFill>
                  <a:schemeClr val="bg1"/>
                </a:solidFill>
                <a:latin typeface="Arial" panose="020B0604020202020204" pitchFamily="34" charset="0"/>
                <a:cs typeface="Arial" panose="020B0604020202020204" pitchFamily="34" charset="0"/>
              </a:rPr>
              <a:t>tal</a:t>
            </a:r>
            <a:r>
              <a:rPr lang="en-GB" b="1" u="sng" dirty="0">
                <a:solidFill>
                  <a:schemeClr val="bg1"/>
                </a:solidFill>
                <a:latin typeface="Arial" panose="020B0604020202020204" pitchFamily="34" charset="0"/>
                <a:cs typeface="Arial" panose="020B0604020202020204" pitchFamily="34" charset="0"/>
              </a:rPr>
              <a:t> </a:t>
            </a:r>
            <a:r>
              <a:rPr lang="en-GB" b="1" u="sng" dirty="0" err="1">
                <a:solidFill>
                  <a:schemeClr val="bg1"/>
                </a:solidFill>
                <a:latin typeface="Arial" panose="020B0604020202020204" pitchFamily="34" charset="0"/>
                <a:cs typeface="Arial" panose="020B0604020202020204" pitchFamily="34" charset="0"/>
              </a:rPr>
              <a:t>como</a:t>
            </a:r>
            <a:r>
              <a:rPr lang="en-GB" b="1" u="sng" dirty="0">
                <a:solidFill>
                  <a:schemeClr val="bg1"/>
                </a:solidFill>
                <a:latin typeface="Arial" panose="020B0604020202020204" pitchFamily="34" charset="0"/>
                <a:cs typeface="Arial" panose="020B0604020202020204" pitchFamily="34" charset="0"/>
              </a:rPr>
              <a:t> </a:t>
            </a:r>
            <a:r>
              <a:rPr lang="en-GB" b="1" u="sng" dirty="0" err="1">
                <a:solidFill>
                  <a:schemeClr val="bg1"/>
                </a:solidFill>
                <a:latin typeface="Arial" panose="020B0604020202020204" pitchFamily="34" charset="0"/>
                <a:cs typeface="Arial" panose="020B0604020202020204" pitchFamily="34" charset="0"/>
              </a:rPr>
              <a:t>están</a:t>
            </a:r>
            <a:r>
              <a:rPr lang="en-GB" b="1" u="sng" dirty="0">
                <a:solidFill>
                  <a:schemeClr val="bg1"/>
                </a:solidFill>
                <a:latin typeface="Arial" panose="020B0604020202020204" pitchFamily="34" charset="0"/>
                <a:cs typeface="Arial" panose="020B0604020202020204" pitchFamily="34" charset="0"/>
              </a:rPr>
              <a:t> </a:t>
            </a:r>
            <a:r>
              <a:rPr lang="en-GB" b="1" u="sng" dirty="0" err="1">
                <a:solidFill>
                  <a:schemeClr val="bg1"/>
                </a:solidFill>
                <a:latin typeface="Arial" panose="020B0604020202020204" pitchFamily="34" charset="0"/>
                <a:cs typeface="Arial" panose="020B0604020202020204" pitchFamily="34" charset="0"/>
              </a:rPr>
              <a:t>en</a:t>
            </a:r>
            <a:r>
              <a:rPr lang="en-GB" b="1" u="sng" dirty="0">
                <a:solidFill>
                  <a:schemeClr val="bg1"/>
                </a:solidFill>
                <a:latin typeface="Arial" panose="020B0604020202020204" pitchFamily="34" charset="0"/>
                <a:cs typeface="Arial" panose="020B0604020202020204" pitchFamily="34" charset="0"/>
              </a:rPr>
              <a:t> la Academia</a:t>
            </a:r>
            <a:r>
              <a:rPr lang="en-GB" dirty="0">
                <a:solidFill>
                  <a:schemeClr val="bg1"/>
                </a:solidFill>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357656809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C3E24BFF-A0DB-4ECE-96D3-5EAB937B7323}"/>
              </a:ext>
            </a:extLst>
          </p:cNvPr>
          <p:cNvSpPr txBox="1"/>
          <p:nvPr/>
        </p:nvSpPr>
        <p:spPr>
          <a:xfrm>
            <a:off x="553451" y="362193"/>
            <a:ext cx="10838046" cy="901593"/>
          </a:xfrm>
          <a:prstGeom prst="rect">
            <a:avLst/>
          </a:prstGeom>
          <a:noFill/>
        </p:spPr>
        <p:txBody>
          <a:bodyPr wrap="square" rtlCol="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lang="es-CO" sz="4000" b="1" dirty="0">
                <a:solidFill>
                  <a:prstClr val="white"/>
                </a:solidFill>
                <a:latin typeface="Arial" panose="020B0604020202020204" pitchFamily="34" charset="0"/>
                <a:cs typeface="Arial" panose="020B0604020202020204" pitchFamily="34" charset="0"/>
              </a:rPr>
              <a:t>INSTRUCCIONES</a:t>
            </a:r>
            <a:endParaRPr lang="en-GB" sz="4000" b="1" dirty="0">
              <a:solidFill>
                <a:schemeClr val="bg1"/>
              </a:solidFill>
              <a:latin typeface="Arial" panose="020B0604020202020204" pitchFamily="34" charset="0"/>
              <a:cs typeface="Arial" panose="020B0604020202020204" pitchFamily="34" charset="0"/>
            </a:endParaRPr>
          </a:p>
        </p:txBody>
      </p:sp>
      <p:sp>
        <p:nvSpPr>
          <p:cNvPr id="9" name="TextBox 8">
            <a:extLst>
              <a:ext uri="{FF2B5EF4-FFF2-40B4-BE49-F238E27FC236}">
                <a16:creationId xmlns:a16="http://schemas.microsoft.com/office/drawing/2014/main" id="{C46E46B2-8DA6-4180-BE6E-D6D94C9C18D5}"/>
              </a:ext>
            </a:extLst>
          </p:cNvPr>
          <p:cNvSpPr txBox="1"/>
          <p:nvPr/>
        </p:nvSpPr>
        <p:spPr>
          <a:xfrm>
            <a:off x="639233" y="1437460"/>
            <a:ext cx="10752264" cy="1287532"/>
          </a:xfrm>
          <a:prstGeom prst="rect">
            <a:avLst/>
          </a:prstGeom>
          <a:noFill/>
        </p:spPr>
        <p:txBody>
          <a:bodyPr wrap="square" rtlCol="0">
            <a:spAutoFit/>
          </a:bodyPr>
          <a:lstStyle/>
          <a:p>
            <a:pPr marL="285750" marR="0" lvl="0" indent="-285750"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GB" dirty="0">
                <a:solidFill>
                  <a:schemeClr val="bg1"/>
                </a:solidFill>
                <a:latin typeface="Arial" panose="020B0604020202020204" pitchFamily="34" charset="0"/>
                <a:cs typeface="Arial" panose="020B0604020202020204" pitchFamily="34" charset="0"/>
              </a:rPr>
              <a:t>Para </a:t>
            </a:r>
            <a:r>
              <a:rPr lang="en-GB" dirty="0" err="1">
                <a:solidFill>
                  <a:schemeClr val="bg1"/>
                </a:solidFill>
                <a:latin typeface="Arial" panose="020B0604020202020204" pitchFamily="34" charset="0"/>
                <a:cs typeface="Arial" panose="020B0604020202020204" pitchFamily="34" charset="0"/>
              </a:rPr>
              <a:t>este</a:t>
            </a:r>
            <a:r>
              <a:rPr lang="en-GB" dirty="0">
                <a:solidFill>
                  <a:schemeClr val="bg1"/>
                </a:solidFill>
                <a:latin typeface="Arial" panose="020B0604020202020204" pitchFamily="34" charset="0"/>
                <a:cs typeface="Arial" panose="020B0604020202020204" pitchFamily="34" charset="0"/>
              </a:rPr>
              <a:t> primer </a:t>
            </a:r>
            <a:r>
              <a:rPr lang="en-GB" dirty="0" err="1">
                <a:solidFill>
                  <a:schemeClr val="bg1"/>
                </a:solidFill>
                <a:latin typeface="Arial" panose="020B0604020202020204" pitchFamily="34" charset="0"/>
                <a:cs typeface="Arial" panose="020B0604020202020204" pitchFamily="34" charset="0"/>
              </a:rPr>
              <a:t>reto</a:t>
            </a:r>
            <a:r>
              <a:rPr lang="en-GB" dirty="0">
                <a:solidFill>
                  <a:schemeClr val="bg1"/>
                </a:solidFill>
                <a:latin typeface="Arial" panose="020B0604020202020204" pitchFamily="34" charset="0"/>
                <a:cs typeface="Arial" panose="020B0604020202020204" pitchFamily="34" charset="0"/>
              </a:rPr>
              <a:t> </a:t>
            </a:r>
            <a:r>
              <a:rPr lang="en-GB" dirty="0" err="1">
                <a:solidFill>
                  <a:schemeClr val="bg1"/>
                </a:solidFill>
                <a:latin typeface="Arial" panose="020B0604020202020204" pitchFamily="34" charset="0"/>
                <a:cs typeface="Arial" panose="020B0604020202020204" pitchFamily="34" charset="0"/>
              </a:rPr>
              <a:t>grupal</a:t>
            </a:r>
            <a:r>
              <a:rPr lang="en-GB" dirty="0">
                <a:solidFill>
                  <a:schemeClr val="bg1"/>
                </a:solidFill>
                <a:latin typeface="Arial" panose="020B0604020202020204" pitchFamily="34" charset="0"/>
                <a:cs typeface="Arial" panose="020B0604020202020204" pitchFamily="34" charset="0"/>
              </a:rPr>
              <a:t> </a:t>
            </a:r>
            <a:r>
              <a:rPr lang="en-GB" dirty="0" err="1">
                <a:solidFill>
                  <a:schemeClr val="bg1"/>
                </a:solidFill>
                <a:latin typeface="Arial" panose="020B0604020202020204" pitchFamily="34" charset="0"/>
                <a:cs typeface="Arial" panose="020B0604020202020204" pitchFamily="34" charset="0"/>
              </a:rPr>
              <a:t>deberán</a:t>
            </a:r>
            <a:r>
              <a:rPr lang="en-GB" dirty="0">
                <a:solidFill>
                  <a:schemeClr val="bg1"/>
                </a:solidFill>
                <a:latin typeface="Arial" panose="020B0604020202020204" pitchFamily="34" charset="0"/>
                <a:cs typeface="Arial" panose="020B0604020202020204" pitchFamily="34" charset="0"/>
              </a:rPr>
              <a:t> </a:t>
            </a:r>
            <a:r>
              <a:rPr lang="en-GB" dirty="0" err="1">
                <a:solidFill>
                  <a:schemeClr val="bg1"/>
                </a:solidFill>
                <a:latin typeface="Arial" panose="020B0604020202020204" pitchFamily="34" charset="0"/>
                <a:cs typeface="Arial" panose="020B0604020202020204" pitchFamily="34" charset="0"/>
              </a:rPr>
              <a:t>desarrollar</a:t>
            </a:r>
            <a:r>
              <a:rPr lang="en-GB" dirty="0">
                <a:solidFill>
                  <a:schemeClr val="bg1"/>
                </a:solidFill>
                <a:latin typeface="Arial" panose="020B0604020202020204" pitchFamily="34" charset="0"/>
                <a:cs typeface="Arial" panose="020B0604020202020204" pitchFamily="34" charset="0"/>
              </a:rPr>
              <a:t> un </a:t>
            </a:r>
            <a:r>
              <a:rPr lang="en-GB" b="1" dirty="0">
                <a:solidFill>
                  <a:schemeClr val="bg1"/>
                </a:solidFill>
                <a:highlight>
                  <a:srgbClr val="EA3A55"/>
                </a:highlight>
                <a:latin typeface="Arial" panose="020B0604020202020204" pitchFamily="34" charset="0"/>
                <a:cs typeface="Arial" panose="020B0604020202020204" pitchFamily="34" charset="0"/>
              </a:rPr>
              <a:t>customer journey</a:t>
            </a:r>
            <a:r>
              <a:rPr lang="en-GB" b="1" dirty="0">
                <a:solidFill>
                  <a:schemeClr val="bg1"/>
                </a:solidFill>
                <a:latin typeface="Arial" panose="020B0604020202020204" pitchFamily="34" charset="0"/>
                <a:cs typeface="Arial" panose="020B0604020202020204" pitchFamily="34" charset="0"/>
              </a:rPr>
              <a:t> </a:t>
            </a:r>
            <a:r>
              <a:rPr lang="en-GB" dirty="0">
                <a:solidFill>
                  <a:schemeClr val="bg1"/>
                </a:solidFill>
                <a:latin typeface="Arial" panose="020B0604020202020204" pitchFamily="34" charset="0"/>
                <a:cs typeface="Arial" panose="020B0604020202020204" pitchFamily="34" charset="0"/>
              </a:rPr>
              <a:t>para el </a:t>
            </a:r>
            <a:r>
              <a:rPr lang="en-GB" dirty="0" err="1">
                <a:solidFill>
                  <a:schemeClr val="bg1"/>
                </a:solidFill>
                <a:latin typeface="Arial" panose="020B0604020202020204" pitchFamily="34" charset="0"/>
                <a:cs typeface="Arial" panose="020B0604020202020204" pitchFamily="34" charset="0"/>
              </a:rPr>
              <a:t>negocio</a:t>
            </a:r>
            <a:r>
              <a:rPr lang="en-GB" dirty="0">
                <a:solidFill>
                  <a:schemeClr val="bg1"/>
                </a:solidFill>
                <a:latin typeface="Arial" panose="020B0604020202020204" pitchFamily="34" charset="0"/>
                <a:cs typeface="Arial" panose="020B0604020202020204" pitchFamily="34" charset="0"/>
              </a:rPr>
              <a:t> de </a:t>
            </a:r>
            <a:r>
              <a:rPr lang="en-GB" b="1" u="sng" dirty="0">
                <a:solidFill>
                  <a:schemeClr val="bg1"/>
                </a:solidFill>
                <a:latin typeface="Arial" panose="020B0604020202020204" pitchFamily="34" charset="0"/>
                <a:cs typeface="Arial" panose="020B0604020202020204" pitchFamily="34" charset="0"/>
              </a:rPr>
              <a:t>una (1) de las </a:t>
            </a:r>
            <a:r>
              <a:rPr lang="en-GB" b="1" u="sng" dirty="0" err="1">
                <a:solidFill>
                  <a:schemeClr val="bg1"/>
                </a:solidFill>
                <a:latin typeface="Arial" panose="020B0604020202020204" pitchFamily="34" charset="0"/>
                <a:cs typeface="Arial" panose="020B0604020202020204" pitchFamily="34" charset="0"/>
              </a:rPr>
              <a:t>participantes</a:t>
            </a:r>
            <a:r>
              <a:rPr lang="en-GB" b="1" u="sng" dirty="0">
                <a:solidFill>
                  <a:schemeClr val="bg1"/>
                </a:solidFill>
                <a:latin typeface="Arial" panose="020B0604020202020204" pitchFamily="34" charset="0"/>
                <a:cs typeface="Arial" panose="020B0604020202020204" pitchFamily="34" charset="0"/>
              </a:rPr>
              <a:t> del </a:t>
            </a:r>
            <a:r>
              <a:rPr lang="en-GB" b="1" u="sng" dirty="0" err="1">
                <a:solidFill>
                  <a:schemeClr val="bg1"/>
                </a:solidFill>
                <a:latin typeface="Arial" panose="020B0604020202020204" pitchFamily="34" charset="0"/>
                <a:cs typeface="Arial" panose="020B0604020202020204" pitchFamily="34" charset="0"/>
              </a:rPr>
              <a:t>grupo</a:t>
            </a:r>
            <a:r>
              <a:rPr lang="en-GB" b="1" u="sng" dirty="0">
                <a:solidFill>
                  <a:schemeClr val="bg1"/>
                </a:solidFill>
                <a:latin typeface="Arial" panose="020B0604020202020204" pitchFamily="34" charset="0"/>
                <a:cs typeface="Arial" panose="020B0604020202020204" pitchFamily="34" charset="0"/>
              </a:rPr>
              <a:t>. </a:t>
            </a:r>
          </a:p>
          <a:p>
            <a:pPr marL="285750" marR="0" lvl="0" indent="-285750"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GB" dirty="0">
                <a:solidFill>
                  <a:schemeClr val="bg1"/>
                </a:solidFill>
                <a:latin typeface="Arial" panose="020B0604020202020204" pitchFamily="34" charset="0"/>
                <a:cs typeface="Arial" panose="020B0604020202020204" pitchFamily="34" charset="0"/>
              </a:rPr>
              <a:t>Se </a:t>
            </a:r>
            <a:r>
              <a:rPr lang="en-GB" dirty="0" err="1">
                <a:solidFill>
                  <a:schemeClr val="bg1"/>
                </a:solidFill>
                <a:latin typeface="Arial" panose="020B0604020202020204" pitchFamily="34" charset="0"/>
                <a:cs typeface="Arial" panose="020B0604020202020204" pitchFamily="34" charset="0"/>
              </a:rPr>
              <a:t>recomienda</a:t>
            </a:r>
            <a:r>
              <a:rPr lang="en-GB" dirty="0">
                <a:solidFill>
                  <a:schemeClr val="bg1"/>
                </a:solidFill>
                <a:latin typeface="Arial" panose="020B0604020202020204" pitchFamily="34" charset="0"/>
                <a:cs typeface="Arial" panose="020B0604020202020204" pitchFamily="34" charset="0"/>
              </a:rPr>
              <a:t> </a:t>
            </a:r>
            <a:r>
              <a:rPr lang="en-GB" dirty="0" err="1">
                <a:solidFill>
                  <a:schemeClr val="bg1"/>
                </a:solidFill>
                <a:latin typeface="Arial" panose="020B0604020202020204" pitchFamily="34" charset="0"/>
                <a:cs typeface="Arial" panose="020B0604020202020204" pitchFamily="34" charset="0"/>
              </a:rPr>
              <a:t>aplicar</a:t>
            </a:r>
            <a:r>
              <a:rPr lang="en-GB" dirty="0">
                <a:solidFill>
                  <a:schemeClr val="bg1"/>
                </a:solidFill>
                <a:latin typeface="Arial" panose="020B0604020202020204" pitchFamily="34" charset="0"/>
                <a:cs typeface="Arial" panose="020B0604020202020204" pitchFamily="34" charset="0"/>
              </a:rPr>
              <a:t> la </a:t>
            </a:r>
            <a:r>
              <a:rPr lang="en-GB" dirty="0" err="1">
                <a:solidFill>
                  <a:schemeClr val="bg1"/>
                </a:solidFill>
                <a:latin typeface="Arial" panose="020B0604020202020204" pitchFamily="34" charset="0"/>
                <a:cs typeface="Arial" panose="020B0604020202020204" pitchFamily="34" charset="0"/>
              </a:rPr>
              <a:t>dinámica</a:t>
            </a:r>
            <a:r>
              <a:rPr lang="en-GB" dirty="0">
                <a:solidFill>
                  <a:schemeClr val="bg1"/>
                </a:solidFill>
                <a:latin typeface="Arial" panose="020B0604020202020204" pitchFamily="34" charset="0"/>
                <a:cs typeface="Arial" panose="020B0604020202020204" pitchFamily="34" charset="0"/>
              </a:rPr>
              <a:t> de </a:t>
            </a:r>
            <a:r>
              <a:rPr lang="en-GB" dirty="0" err="1">
                <a:solidFill>
                  <a:schemeClr val="bg1"/>
                </a:solidFill>
                <a:latin typeface="Arial" panose="020B0604020202020204" pitchFamily="34" charset="0"/>
                <a:cs typeface="Arial" panose="020B0604020202020204" pitchFamily="34" charset="0"/>
              </a:rPr>
              <a:t>consultoría</a:t>
            </a:r>
            <a:r>
              <a:rPr lang="en-GB" dirty="0">
                <a:solidFill>
                  <a:schemeClr val="bg1"/>
                </a:solidFill>
                <a:latin typeface="Arial" panose="020B0604020202020204" pitchFamily="34" charset="0"/>
                <a:cs typeface="Arial" panose="020B0604020202020204" pitchFamily="34" charset="0"/>
              </a:rPr>
              <a:t> </a:t>
            </a:r>
            <a:r>
              <a:rPr lang="en-GB" dirty="0" err="1">
                <a:solidFill>
                  <a:schemeClr val="bg1"/>
                </a:solidFill>
                <a:latin typeface="Arial" panose="020B0604020202020204" pitchFamily="34" charset="0"/>
                <a:cs typeface="Arial" panose="020B0604020202020204" pitchFamily="34" charset="0"/>
              </a:rPr>
              <a:t>expuesta</a:t>
            </a:r>
            <a:r>
              <a:rPr lang="en-GB" dirty="0">
                <a:solidFill>
                  <a:schemeClr val="bg1"/>
                </a:solidFill>
                <a:latin typeface="Arial" panose="020B0604020202020204" pitchFamily="34" charset="0"/>
                <a:cs typeface="Arial" panose="020B0604020202020204" pitchFamily="34" charset="0"/>
              </a:rPr>
              <a:t> a </a:t>
            </a:r>
            <a:r>
              <a:rPr lang="en-GB" dirty="0" err="1">
                <a:solidFill>
                  <a:schemeClr val="bg1"/>
                </a:solidFill>
                <a:latin typeface="Arial" panose="020B0604020202020204" pitchFamily="34" charset="0"/>
                <a:cs typeface="Arial" panose="020B0604020202020204" pitchFamily="34" charset="0"/>
              </a:rPr>
              <a:t>continuación</a:t>
            </a:r>
            <a:r>
              <a:rPr lang="en-GB" dirty="0">
                <a:solidFill>
                  <a:schemeClr val="bg1"/>
                </a:solidFill>
                <a:latin typeface="Arial" panose="020B0604020202020204" pitchFamily="34" charset="0"/>
                <a:cs typeface="Arial" panose="020B0604020202020204" pitchFamily="34" charset="0"/>
              </a:rPr>
              <a:t>: </a:t>
            </a:r>
          </a:p>
        </p:txBody>
      </p:sp>
      <p:sp>
        <p:nvSpPr>
          <p:cNvPr id="5" name="Rectangle: Rounded Corners 4">
            <a:extLst>
              <a:ext uri="{FF2B5EF4-FFF2-40B4-BE49-F238E27FC236}">
                <a16:creationId xmlns:a16="http://schemas.microsoft.com/office/drawing/2014/main" id="{A807FA6B-29BF-428C-875A-43AB91CF3674}"/>
              </a:ext>
            </a:extLst>
          </p:cNvPr>
          <p:cNvSpPr/>
          <p:nvPr/>
        </p:nvSpPr>
        <p:spPr>
          <a:xfrm>
            <a:off x="986194" y="2875692"/>
            <a:ext cx="10122073" cy="1746676"/>
          </a:xfrm>
          <a:prstGeom prst="roundRect">
            <a:avLst/>
          </a:prstGeom>
          <a:noFill/>
          <a:ln>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solidFill>
                <a:schemeClr val="bg1"/>
              </a:solidFill>
            </a:endParaRPr>
          </a:p>
        </p:txBody>
      </p:sp>
      <p:graphicFrame>
        <p:nvGraphicFramePr>
          <p:cNvPr id="7" name="Table 6">
            <a:extLst>
              <a:ext uri="{FF2B5EF4-FFF2-40B4-BE49-F238E27FC236}">
                <a16:creationId xmlns:a16="http://schemas.microsoft.com/office/drawing/2014/main" id="{C9AC83A0-A20D-4A6B-8729-5097ABD46F34}"/>
              </a:ext>
            </a:extLst>
          </p:cNvPr>
          <p:cNvGraphicFramePr>
            <a:graphicFrameLocks noGrp="1"/>
          </p:cNvGraphicFramePr>
          <p:nvPr>
            <p:extLst>
              <p:ext uri="{D42A27DB-BD31-4B8C-83A1-F6EECF244321}">
                <p14:modId xmlns:p14="http://schemas.microsoft.com/office/powerpoint/2010/main" val="1199115430"/>
              </p:ext>
            </p:extLst>
          </p:nvPr>
        </p:nvGraphicFramePr>
        <p:xfrm>
          <a:off x="1479378" y="2971790"/>
          <a:ext cx="9482666" cy="1554480"/>
        </p:xfrm>
        <a:graphic>
          <a:graphicData uri="http://schemas.openxmlformats.org/drawingml/2006/table">
            <a:tbl>
              <a:tblPr firstRow="1" bandRow="1">
                <a:tableStyleId>{5C22544A-7EE6-4342-B048-85BDC9FD1C3A}</a:tableStyleId>
              </a:tblPr>
              <a:tblGrid>
                <a:gridCol w="9482666">
                  <a:extLst>
                    <a:ext uri="{9D8B030D-6E8A-4147-A177-3AD203B41FA5}">
                      <a16:colId xmlns:a16="http://schemas.microsoft.com/office/drawing/2014/main" val="3451321742"/>
                    </a:ext>
                  </a:extLst>
                </a:gridCol>
              </a:tblGrid>
              <a:tr h="370840">
                <a:tc>
                  <a:txBody>
                    <a:bodyPr/>
                    <a:lstStyle/>
                    <a:p>
                      <a:r>
                        <a:rPr lang="es-CO" sz="1600" dirty="0">
                          <a:solidFill>
                            <a:schemeClr val="bg1"/>
                          </a:solidFill>
                          <a:latin typeface="Arial" panose="020B0604020202020204" pitchFamily="34" charset="0"/>
                          <a:cs typeface="Arial" panose="020B0604020202020204" pitchFamily="34" charset="0"/>
                        </a:rPr>
                        <a:t>Dinámica de consultoría:  </a:t>
                      </a:r>
                    </a:p>
                    <a:p>
                      <a:pPr marL="171450" indent="-171450">
                        <a:buFont typeface="Wingdings" panose="05000000000000000000" pitchFamily="2" charset="2"/>
                        <a:buChar char="§"/>
                      </a:pPr>
                      <a:r>
                        <a:rPr lang="es-CO" sz="1600" b="0" dirty="0">
                          <a:solidFill>
                            <a:schemeClr val="bg1"/>
                          </a:solidFill>
                          <a:latin typeface="Arial" panose="020B0604020202020204" pitchFamily="34" charset="0"/>
                          <a:cs typeface="Arial" panose="020B0604020202020204" pitchFamily="34" charset="0"/>
                        </a:rPr>
                        <a:t>La participante representante del negocio seleccionado tendrá el rol de “cliente”</a:t>
                      </a:r>
                    </a:p>
                    <a:p>
                      <a:pPr marL="171450" indent="-171450">
                        <a:buFont typeface="Wingdings" panose="05000000000000000000" pitchFamily="2" charset="2"/>
                        <a:buChar char="§"/>
                      </a:pPr>
                      <a:r>
                        <a:rPr lang="es-CO" sz="1600" b="0" dirty="0">
                          <a:solidFill>
                            <a:schemeClr val="bg1"/>
                          </a:solidFill>
                          <a:latin typeface="Arial" panose="020B0604020202020204" pitchFamily="34" charset="0"/>
                          <a:cs typeface="Arial" panose="020B0604020202020204" pitchFamily="34" charset="0"/>
                        </a:rPr>
                        <a:t>Las empresarias restantes actuarán como “consultoras”</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s-CO" sz="1600" b="0" dirty="0">
                          <a:solidFill>
                            <a:schemeClr val="bg1"/>
                          </a:solidFill>
                          <a:latin typeface="Arial" panose="020B0604020202020204" pitchFamily="34" charset="0"/>
                          <a:cs typeface="Arial" panose="020B0604020202020204" pitchFamily="34" charset="0"/>
                        </a:rPr>
                        <a:t>La actividad consiste en que el “cliente” presente el estado de su negocio en función de los requerimientos de la herramienta, mientras que las consultoras realizan preguntas clave que enriquecen el negocio del cliente y amplían el conocimiento del grupo.</a:t>
                      </a:r>
                    </a:p>
                  </a:txBody>
                  <a:tcPr>
                    <a:lnL w="28575"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83950455"/>
                  </a:ext>
                </a:extLst>
              </a:tr>
            </a:tbl>
          </a:graphicData>
        </a:graphic>
      </p:graphicFrame>
      <p:pic>
        <p:nvPicPr>
          <p:cNvPr id="8" name="Gráfico 2">
            <a:extLst>
              <a:ext uri="{FF2B5EF4-FFF2-40B4-BE49-F238E27FC236}">
                <a16:creationId xmlns:a16="http://schemas.microsoft.com/office/drawing/2014/main" id="{75EB8263-EF49-4F0B-A650-51E58D99C9D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39233" y="2888925"/>
            <a:ext cx="693923" cy="677659"/>
          </a:xfrm>
          <a:prstGeom prst="rect">
            <a:avLst/>
          </a:prstGeom>
        </p:spPr>
      </p:pic>
      <p:sp>
        <p:nvSpPr>
          <p:cNvPr id="10" name="TextBox 9">
            <a:extLst>
              <a:ext uri="{FF2B5EF4-FFF2-40B4-BE49-F238E27FC236}">
                <a16:creationId xmlns:a16="http://schemas.microsoft.com/office/drawing/2014/main" id="{BD334509-8071-4DDA-8AA5-4A11F7D38E21}"/>
              </a:ext>
            </a:extLst>
          </p:cNvPr>
          <p:cNvSpPr txBox="1"/>
          <p:nvPr/>
        </p:nvSpPr>
        <p:spPr>
          <a:xfrm>
            <a:off x="639233" y="4843776"/>
            <a:ext cx="10752264" cy="1703030"/>
          </a:xfrm>
          <a:prstGeom prst="rect">
            <a:avLst/>
          </a:prstGeom>
          <a:noFill/>
        </p:spPr>
        <p:txBody>
          <a:bodyPr wrap="square" rtlCol="0">
            <a:spAutoFit/>
          </a:bodyPr>
          <a:lstStyle/>
          <a:p>
            <a:pPr marL="285750" marR="0" lvl="0" indent="-285750"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GB" dirty="0">
                <a:solidFill>
                  <a:schemeClr val="bg1"/>
                </a:solidFill>
                <a:latin typeface="Arial" panose="020B0604020202020204" pitchFamily="34" charset="0"/>
                <a:cs typeface="Arial" panose="020B0604020202020204" pitchFamily="34" charset="0"/>
              </a:rPr>
              <a:t>La </a:t>
            </a:r>
            <a:r>
              <a:rPr lang="en-GB" dirty="0" err="1">
                <a:solidFill>
                  <a:schemeClr val="bg1"/>
                </a:solidFill>
                <a:latin typeface="Arial" panose="020B0604020202020204" pitchFamily="34" charset="0"/>
                <a:cs typeface="Arial" panose="020B0604020202020204" pitchFamily="34" charset="0"/>
              </a:rPr>
              <a:t>participante</a:t>
            </a:r>
            <a:r>
              <a:rPr lang="en-GB" dirty="0">
                <a:solidFill>
                  <a:schemeClr val="bg1"/>
                </a:solidFill>
                <a:latin typeface="Arial" panose="020B0604020202020204" pitchFamily="34" charset="0"/>
                <a:cs typeface="Arial" panose="020B0604020202020204" pitchFamily="34" charset="0"/>
              </a:rPr>
              <a:t> </a:t>
            </a:r>
            <a:r>
              <a:rPr lang="en-GB" dirty="0" err="1">
                <a:solidFill>
                  <a:schemeClr val="bg1"/>
                </a:solidFill>
                <a:latin typeface="Arial" panose="020B0604020202020204" pitchFamily="34" charset="0"/>
                <a:cs typeface="Arial" panose="020B0604020202020204" pitchFamily="34" charset="0"/>
              </a:rPr>
              <a:t>sujeto</a:t>
            </a:r>
            <a:r>
              <a:rPr lang="en-GB" dirty="0">
                <a:solidFill>
                  <a:schemeClr val="bg1"/>
                </a:solidFill>
                <a:latin typeface="Arial" panose="020B0604020202020204" pitchFamily="34" charset="0"/>
                <a:cs typeface="Arial" panose="020B0604020202020204" pitchFamily="34" charset="0"/>
              </a:rPr>
              <a:t> de la </a:t>
            </a:r>
            <a:r>
              <a:rPr lang="en-GB" dirty="0" err="1">
                <a:solidFill>
                  <a:schemeClr val="bg1"/>
                </a:solidFill>
                <a:latin typeface="Arial" panose="020B0604020202020204" pitchFamily="34" charset="0"/>
                <a:cs typeface="Arial" panose="020B0604020202020204" pitchFamily="34" charset="0"/>
              </a:rPr>
              <a:t>consultoría</a:t>
            </a:r>
            <a:r>
              <a:rPr lang="en-GB" dirty="0">
                <a:solidFill>
                  <a:schemeClr val="bg1"/>
                </a:solidFill>
                <a:latin typeface="Arial" panose="020B0604020202020204" pitchFamily="34" charset="0"/>
                <a:cs typeface="Arial" panose="020B0604020202020204" pitchFamily="34" charset="0"/>
              </a:rPr>
              <a:t> </a:t>
            </a:r>
            <a:r>
              <a:rPr lang="en-GB" dirty="0" err="1">
                <a:solidFill>
                  <a:schemeClr val="bg1"/>
                </a:solidFill>
                <a:latin typeface="Arial" panose="020B0604020202020204" pitchFamily="34" charset="0"/>
                <a:cs typeface="Arial" panose="020B0604020202020204" pitchFamily="34" charset="0"/>
              </a:rPr>
              <a:t>podrá</a:t>
            </a:r>
            <a:r>
              <a:rPr lang="en-GB" dirty="0">
                <a:solidFill>
                  <a:schemeClr val="bg1"/>
                </a:solidFill>
                <a:latin typeface="Arial" panose="020B0604020202020204" pitchFamily="34" charset="0"/>
                <a:cs typeface="Arial" panose="020B0604020202020204" pitchFamily="34" charset="0"/>
              </a:rPr>
              <a:t> </a:t>
            </a:r>
            <a:r>
              <a:rPr lang="en-GB" dirty="0" err="1">
                <a:solidFill>
                  <a:schemeClr val="bg1"/>
                </a:solidFill>
                <a:latin typeface="Arial" panose="020B0604020202020204" pitchFamily="34" charset="0"/>
                <a:cs typeface="Arial" panose="020B0604020202020204" pitchFamily="34" charset="0"/>
              </a:rPr>
              <a:t>involucrar</a:t>
            </a:r>
            <a:r>
              <a:rPr lang="en-GB" dirty="0">
                <a:solidFill>
                  <a:schemeClr val="bg1"/>
                </a:solidFill>
                <a:latin typeface="Arial" panose="020B0604020202020204" pitchFamily="34" charset="0"/>
                <a:cs typeface="Arial" panose="020B0604020202020204" pitchFamily="34" charset="0"/>
              </a:rPr>
              <a:t> </a:t>
            </a:r>
            <a:r>
              <a:rPr lang="en-GB" dirty="0" err="1">
                <a:solidFill>
                  <a:schemeClr val="bg1"/>
                </a:solidFill>
                <a:latin typeface="Arial" panose="020B0604020202020204" pitchFamily="34" charset="0"/>
                <a:cs typeface="Arial" panose="020B0604020202020204" pitchFamily="34" charset="0"/>
              </a:rPr>
              <a:t>más</a:t>
            </a:r>
            <a:r>
              <a:rPr lang="en-GB" dirty="0">
                <a:solidFill>
                  <a:schemeClr val="bg1"/>
                </a:solidFill>
                <a:latin typeface="Arial" panose="020B0604020202020204" pitchFamily="34" charset="0"/>
                <a:cs typeface="Arial" panose="020B0604020202020204" pitchFamily="34" charset="0"/>
              </a:rPr>
              <a:t> personas de </a:t>
            </a:r>
            <a:r>
              <a:rPr lang="en-GB" dirty="0" err="1">
                <a:solidFill>
                  <a:schemeClr val="bg1"/>
                </a:solidFill>
                <a:latin typeface="Arial" panose="020B0604020202020204" pitchFamily="34" charset="0"/>
                <a:cs typeface="Arial" panose="020B0604020202020204" pitchFamily="34" charset="0"/>
              </a:rPr>
              <a:t>su</a:t>
            </a:r>
            <a:r>
              <a:rPr lang="en-GB" dirty="0">
                <a:solidFill>
                  <a:schemeClr val="bg1"/>
                </a:solidFill>
                <a:latin typeface="Arial" panose="020B0604020202020204" pitchFamily="34" charset="0"/>
                <a:cs typeface="Arial" panose="020B0604020202020204" pitchFamily="34" charset="0"/>
              </a:rPr>
              <a:t> </a:t>
            </a:r>
            <a:r>
              <a:rPr lang="en-GB" dirty="0" err="1">
                <a:solidFill>
                  <a:schemeClr val="bg1"/>
                </a:solidFill>
                <a:latin typeface="Arial" panose="020B0604020202020204" pitchFamily="34" charset="0"/>
                <a:cs typeface="Arial" panose="020B0604020202020204" pitchFamily="34" charset="0"/>
              </a:rPr>
              <a:t>empresa</a:t>
            </a:r>
            <a:r>
              <a:rPr lang="en-GB" dirty="0">
                <a:solidFill>
                  <a:schemeClr val="bg1"/>
                </a:solidFill>
                <a:latin typeface="Arial" panose="020B0604020202020204" pitchFamily="34" charset="0"/>
                <a:cs typeface="Arial" panose="020B0604020202020204" pitchFamily="34" charset="0"/>
              </a:rPr>
              <a:t> </a:t>
            </a:r>
            <a:r>
              <a:rPr lang="en-GB" dirty="0" err="1">
                <a:solidFill>
                  <a:schemeClr val="bg1"/>
                </a:solidFill>
                <a:latin typeface="Arial" panose="020B0604020202020204" pitchFamily="34" charset="0"/>
                <a:cs typeface="Arial" panose="020B0604020202020204" pitchFamily="34" charset="0"/>
              </a:rPr>
              <a:t>en</a:t>
            </a:r>
            <a:r>
              <a:rPr lang="en-GB" dirty="0">
                <a:solidFill>
                  <a:schemeClr val="bg1"/>
                </a:solidFill>
                <a:latin typeface="Arial" panose="020B0604020202020204" pitchFamily="34" charset="0"/>
                <a:cs typeface="Arial" panose="020B0604020202020204" pitchFamily="34" charset="0"/>
              </a:rPr>
              <a:t> la </a:t>
            </a:r>
            <a:r>
              <a:rPr lang="en-GB" dirty="0" err="1">
                <a:solidFill>
                  <a:schemeClr val="bg1"/>
                </a:solidFill>
                <a:latin typeface="Arial" panose="020B0604020202020204" pitchFamily="34" charset="0"/>
                <a:cs typeface="Arial" panose="020B0604020202020204" pitchFamily="34" charset="0"/>
              </a:rPr>
              <a:t>construcción</a:t>
            </a:r>
            <a:r>
              <a:rPr lang="en-GB" dirty="0">
                <a:solidFill>
                  <a:schemeClr val="bg1"/>
                </a:solidFill>
                <a:latin typeface="Arial" panose="020B0604020202020204" pitchFamily="34" charset="0"/>
                <a:cs typeface="Arial" panose="020B0604020202020204" pitchFamily="34" charset="0"/>
              </a:rPr>
              <a:t> del customer journey.</a:t>
            </a:r>
          </a:p>
          <a:p>
            <a:pPr marL="285750" indent="-285750">
              <a:lnSpc>
                <a:spcPct val="150000"/>
              </a:lnSpc>
              <a:buFont typeface="Arial" panose="020B0604020202020204" pitchFamily="34" charset="0"/>
              <a:buChar char="•"/>
              <a:defRPr/>
            </a:pPr>
            <a:r>
              <a:rPr lang="en-GB" dirty="0">
                <a:solidFill>
                  <a:schemeClr val="bg1"/>
                </a:solidFill>
                <a:latin typeface="Arial" panose="020B0604020202020204" pitchFamily="34" charset="0"/>
                <a:cs typeface="Arial" panose="020B0604020202020204" pitchFamily="34" charset="0"/>
              </a:rPr>
              <a:t>El </a:t>
            </a:r>
            <a:r>
              <a:rPr lang="en-GB" dirty="0" err="1">
                <a:solidFill>
                  <a:schemeClr val="bg1"/>
                </a:solidFill>
                <a:latin typeface="Arial" panose="020B0604020202020204" pitchFamily="34" charset="0"/>
                <a:cs typeface="Arial" panose="020B0604020202020204" pitchFamily="34" charset="0"/>
              </a:rPr>
              <a:t>formato</a:t>
            </a:r>
            <a:r>
              <a:rPr lang="en-GB" dirty="0">
                <a:solidFill>
                  <a:schemeClr val="bg1"/>
                </a:solidFill>
                <a:latin typeface="Arial" panose="020B0604020202020204" pitchFamily="34" charset="0"/>
                <a:cs typeface="Arial" panose="020B0604020202020204" pitchFamily="34" charset="0"/>
              </a:rPr>
              <a:t> de </a:t>
            </a:r>
            <a:r>
              <a:rPr lang="en-GB" dirty="0" err="1">
                <a:solidFill>
                  <a:schemeClr val="bg1"/>
                </a:solidFill>
                <a:latin typeface="Arial" panose="020B0604020202020204" pitchFamily="34" charset="0"/>
                <a:cs typeface="Arial" panose="020B0604020202020204" pitchFamily="34" charset="0"/>
              </a:rPr>
              <a:t>entrega</a:t>
            </a:r>
            <a:r>
              <a:rPr lang="en-GB" dirty="0">
                <a:solidFill>
                  <a:schemeClr val="bg1"/>
                </a:solidFill>
                <a:latin typeface="Arial" panose="020B0604020202020204" pitchFamily="34" charset="0"/>
                <a:cs typeface="Arial" panose="020B0604020202020204" pitchFamily="34" charset="0"/>
              </a:rPr>
              <a:t> es libre. </a:t>
            </a:r>
            <a:r>
              <a:rPr lang="en-GB" dirty="0" err="1">
                <a:solidFill>
                  <a:schemeClr val="bg1"/>
                </a:solidFill>
                <a:latin typeface="Arial" panose="020B0604020202020204" pitchFamily="34" charset="0"/>
                <a:cs typeface="Arial" panose="020B0604020202020204" pitchFamily="34" charset="0"/>
              </a:rPr>
              <a:t>Pueden</a:t>
            </a:r>
            <a:r>
              <a:rPr lang="en-GB" dirty="0">
                <a:solidFill>
                  <a:schemeClr val="bg1"/>
                </a:solidFill>
                <a:latin typeface="Arial" panose="020B0604020202020204" pitchFamily="34" charset="0"/>
                <a:cs typeface="Arial" panose="020B0604020202020204" pitchFamily="34" charset="0"/>
              </a:rPr>
              <a:t> </a:t>
            </a:r>
            <a:r>
              <a:rPr lang="en-GB" dirty="0" err="1">
                <a:solidFill>
                  <a:schemeClr val="bg1"/>
                </a:solidFill>
                <a:latin typeface="Arial" panose="020B0604020202020204" pitchFamily="34" charset="0"/>
                <a:cs typeface="Arial" panose="020B0604020202020204" pitchFamily="34" charset="0"/>
              </a:rPr>
              <a:t>desarrollar</a:t>
            </a:r>
            <a:r>
              <a:rPr lang="en-GB" dirty="0">
                <a:solidFill>
                  <a:schemeClr val="bg1"/>
                </a:solidFill>
                <a:latin typeface="Arial" panose="020B0604020202020204" pitchFamily="34" charset="0"/>
                <a:cs typeface="Arial" panose="020B0604020202020204" pitchFamily="34" charset="0"/>
              </a:rPr>
              <a:t> el customer journey </a:t>
            </a:r>
            <a:r>
              <a:rPr lang="en-GB" dirty="0" err="1">
                <a:solidFill>
                  <a:schemeClr val="bg1"/>
                </a:solidFill>
                <a:latin typeface="Arial" panose="020B0604020202020204" pitchFamily="34" charset="0"/>
                <a:cs typeface="Arial" panose="020B0604020202020204" pitchFamily="34" charset="0"/>
              </a:rPr>
              <a:t>en</a:t>
            </a:r>
            <a:r>
              <a:rPr lang="en-GB" dirty="0">
                <a:solidFill>
                  <a:schemeClr val="bg1"/>
                </a:solidFill>
                <a:latin typeface="Arial" panose="020B0604020202020204" pitchFamily="34" charset="0"/>
                <a:cs typeface="Arial" panose="020B0604020202020204" pitchFamily="34" charset="0"/>
              </a:rPr>
              <a:t> una </a:t>
            </a:r>
            <a:r>
              <a:rPr lang="en-GB" dirty="0" err="1">
                <a:solidFill>
                  <a:schemeClr val="bg1"/>
                </a:solidFill>
                <a:latin typeface="Arial" panose="020B0604020202020204" pitchFamily="34" charset="0"/>
                <a:cs typeface="Arial" panose="020B0604020202020204" pitchFamily="34" charset="0"/>
              </a:rPr>
              <a:t>herramienta</a:t>
            </a:r>
            <a:r>
              <a:rPr lang="en-GB" dirty="0">
                <a:solidFill>
                  <a:schemeClr val="bg1"/>
                </a:solidFill>
                <a:latin typeface="Arial" panose="020B0604020202020204" pitchFamily="34" charset="0"/>
                <a:cs typeface="Arial" panose="020B0604020202020204" pitchFamily="34" charset="0"/>
              </a:rPr>
              <a:t> digital </a:t>
            </a:r>
            <a:r>
              <a:rPr lang="es-CO" dirty="0">
                <a:solidFill>
                  <a:schemeClr val="bg1"/>
                </a:solidFill>
                <a:latin typeface="Arial" panose="020B0604020202020204" pitchFamily="34" charset="0"/>
                <a:cs typeface="Arial" panose="020B0604020202020204" pitchFamily="34" charset="0"/>
              </a:rPr>
              <a:t>o incluso de manera manual utilizando post – </a:t>
            </a:r>
            <a:r>
              <a:rPr lang="es-CO" dirty="0" err="1">
                <a:solidFill>
                  <a:schemeClr val="bg1"/>
                </a:solidFill>
                <a:latin typeface="Arial" panose="020B0604020202020204" pitchFamily="34" charset="0"/>
                <a:cs typeface="Arial" panose="020B0604020202020204" pitchFamily="34" charset="0"/>
              </a:rPr>
              <a:t>its</a:t>
            </a:r>
            <a:r>
              <a:rPr lang="es-CO" dirty="0">
                <a:solidFill>
                  <a:schemeClr val="bg1"/>
                </a:solidFill>
                <a:latin typeface="Arial" panose="020B0604020202020204" pitchFamily="34" charset="0"/>
                <a:cs typeface="Arial" panose="020B0604020202020204" pitchFamily="34" charset="0"/>
              </a:rPr>
              <a:t>. ¡Este es un ejercicio creativo, no se limiten!</a:t>
            </a:r>
          </a:p>
        </p:txBody>
      </p:sp>
    </p:spTree>
    <p:extLst>
      <p:ext uri="{BB962C8B-B14F-4D97-AF65-F5344CB8AC3E}">
        <p14:creationId xmlns:p14="http://schemas.microsoft.com/office/powerpoint/2010/main" val="33087922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C3E24BFF-A0DB-4ECE-96D3-5EAB937B7323}"/>
              </a:ext>
            </a:extLst>
          </p:cNvPr>
          <p:cNvSpPr txBox="1"/>
          <p:nvPr/>
        </p:nvSpPr>
        <p:spPr>
          <a:xfrm>
            <a:off x="553451" y="362193"/>
            <a:ext cx="10838046" cy="901593"/>
          </a:xfrm>
          <a:prstGeom prst="rect">
            <a:avLst/>
          </a:prstGeom>
          <a:noFill/>
        </p:spPr>
        <p:txBody>
          <a:bodyPr wrap="square" rtlCol="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lang="es-CO" sz="4000" b="1" dirty="0">
                <a:solidFill>
                  <a:prstClr val="white"/>
                </a:solidFill>
                <a:latin typeface="Arial" panose="020B0604020202020204" pitchFamily="34" charset="0"/>
                <a:cs typeface="Arial" panose="020B0604020202020204" pitchFamily="34" charset="0"/>
              </a:rPr>
              <a:t>INSTRUCCIONES</a:t>
            </a:r>
            <a:endParaRPr lang="en-GB" sz="4000" b="1" dirty="0">
              <a:solidFill>
                <a:schemeClr val="bg1"/>
              </a:solidFill>
              <a:latin typeface="Arial" panose="020B0604020202020204" pitchFamily="34" charset="0"/>
              <a:cs typeface="Arial" panose="020B0604020202020204" pitchFamily="34" charset="0"/>
            </a:endParaRPr>
          </a:p>
        </p:txBody>
      </p:sp>
      <p:sp>
        <p:nvSpPr>
          <p:cNvPr id="11" name="TextBox 10">
            <a:extLst>
              <a:ext uri="{FF2B5EF4-FFF2-40B4-BE49-F238E27FC236}">
                <a16:creationId xmlns:a16="http://schemas.microsoft.com/office/drawing/2014/main" id="{4E24824E-F86D-4BF1-A73F-457CD5F4A18D}"/>
              </a:ext>
            </a:extLst>
          </p:cNvPr>
          <p:cNvSpPr txBox="1"/>
          <p:nvPr/>
        </p:nvSpPr>
        <p:spPr>
          <a:xfrm>
            <a:off x="639233" y="1415484"/>
            <a:ext cx="10752264" cy="4662815"/>
          </a:xfrm>
          <a:prstGeom prst="rect">
            <a:avLst/>
          </a:prstGeom>
          <a:noFill/>
        </p:spPr>
        <p:txBody>
          <a:bodyPr wrap="square" rtlCol="0">
            <a:spAutoFit/>
          </a:bodyPr>
          <a:lstStyle/>
          <a:p>
            <a:pPr marL="285750" marR="0" lvl="0" indent="-285750"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GB" dirty="0">
                <a:solidFill>
                  <a:schemeClr val="bg1"/>
                </a:solidFill>
                <a:latin typeface="Arial" panose="020B0604020202020204" pitchFamily="34" charset="0"/>
                <a:cs typeface="Arial" panose="020B0604020202020204" pitchFamily="34" charset="0"/>
              </a:rPr>
              <a:t>Para </a:t>
            </a:r>
            <a:r>
              <a:rPr lang="en-GB" dirty="0" err="1">
                <a:solidFill>
                  <a:schemeClr val="bg1"/>
                </a:solidFill>
                <a:latin typeface="Arial" panose="020B0604020202020204" pitchFamily="34" charset="0"/>
                <a:cs typeface="Arial" panose="020B0604020202020204" pitchFamily="34" charset="0"/>
              </a:rPr>
              <a:t>este</a:t>
            </a:r>
            <a:r>
              <a:rPr lang="en-GB" dirty="0">
                <a:solidFill>
                  <a:schemeClr val="bg1"/>
                </a:solidFill>
                <a:latin typeface="Arial" panose="020B0604020202020204" pitchFamily="34" charset="0"/>
                <a:cs typeface="Arial" panose="020B0604020202020204" pitchFamily="34" charset="0"/>
              </a:rPr>
              <a:t> </a:t>
            </a:r>
            <a:r>
              <a:rPr lang="en-GB" dirty="0" err="1">
                <a:solidFill>
                  <a:schemeClr val="bg1"/>
                </a:solidFill>
                <a:latin typeface="Arial" panose="020B0604020202020204" pitchFamily="34" charset="0"/>
                <a:cs typeface="Arial" panose="020B0604020202020204" pitchFamily="34" charset="0"/>
              </a:rPr>
              <a:t>reto</a:t>
            </a:r>
            <a:r>
              <a:rPr lang="en-GB" dirty="0">
                <a:solidFill>
                  <a:schemeClr val="bg1"/>
                </a:solidFill>
                <a:latin typeface="Arial" panose="020B0604020202020204" pitchFamily="34" charset="0"/>
                <a:cs typeface="Arial" panose="020B0604020202020204" pitchFamily="34" charset="0"/>
              </a:rPr>
              <a:t> </a:t>
            </a:r>
            <a:r>
              <a:rPr lang="en-GB" dirty="0" err="1">
                <a:solidFill>
                  <a:schemeClr val="bg1"/>
                </a:solidFill>
                <a:latin typeface="Arial" panose="020B0604020202020204" pitchFamily="34" charset="0"/>
                <a:cs typeface="Arial" panose="020B0604020202020204" pitchFamily="34" charset="0"/>
              </a:rPr>
              <a:t>deben</a:t>
            </a:r>
            <a:r>
              <a:rPr lang="en-GB" dirty="0">
                <a:solidFill>
                  <a:schemeClr val="bg1"/>
                </a:solidFill>
                <a:latin typeface="Arial" panose="020B0604020202020204" pitchFamily="34" charset="0"/>
                <a:cs typeface="Arial" panose="020B0604020202020204" pitchFamily="34" charset="0"/>
              </a:rPr>
              <a:t> </a:t>
            </a:r>
            <a:r>
              <a:rPr lang="en-GB" dirty="0" err="1">
                <a:solidFill>
                  <a:schemeClr val="bg1"/>
                </a:solidFill>
                <a:latin typeface="Arial" panose="020B0604020202020204" pitchFamily="34" charset="0"/>
                <a:cs typeface="Arial" panose="020B0604020202020204" pitchFamily="34" charset="0"/>
              </a:rPr>
              <a:t>presentar</a:t>
            </a:r>
            <a:r>
              <a:rPr lang="en-GB" dirty="0">
                <a:solidFill>
                  <a:schemeClr val="bg1"/>
                </a:solidFill>
                <a:latin typeface="Arial" panose="020B0604020202020204" pitchFamily="34" charset="0"/>
                <a:cs typeface="Arial" panose="020B0604020202020204" pitchFamily="34" charset="0"/>
              </a:rPr>
              <a:t> un </a:t>
            </a:r>
            <a:r>
              <a:rPr lang="en-GB" b="1" dirty="0">
                <a:solidFill>
                  <a:schemeClr val="bg1"/>
                </a:solidFill>
                <a:highlight>
                  <a:srgbClr val="EA3A55"/>
                </a:highlight>
                <a:latin typeface="Arial" panose="020B0604020202020204" pitchFamily="34" charset="0"/>
                <a:cs typeface="Arial" panose="020B0604020202020204" pitchFamily="34" charset="0"/>
              </a:rPr>
              <a:t>customer journey </a:t>
            </a:r>
            <a:r>
              <a:rPr lang="en-GB" dirty="0">
                <a:solidFill>
                  <a:schemeClr val="bg1"/>
                </a:solidFill>
                <a:latin typeface="Arial" panose="020B0604020202020204" pitchFamily="34" charset="0"/>
                <a:cs typeface="Arial" panose="020B0604020202020204" pitchFamily="34" charset="0"/>
              </a:rPr>
              <a:t>y la </a:t>
            </a:r>
            <a:r>
              <a:rPr lang="en-GB" dirty="0" err="1">
                <a:solidFill>
                  <a:schemeClr val="bg1"/>
                </a:solidFill>
                <a:latin typeface="Arial" panose="020B0604020202020204" pitchFamily="34" charset="0"/>
                <a:cs typeface="Arial" panose="020B0604020202020204" pitchFamily="34" charset="0"/>
              </a:rPr>
              <a:t>caracterización</a:t>
            </a:r>
            <a:r>
              <a:rPr lang="en-GB" dirty="0">
                <a:solidFill>
                  <a:schemeClr val="bg1"/>
                </a:solidFill>
                <a:latin typeface="Arial" panose="020B0604020202020204" pitchFamily="34" charset="0"/>
                <a:cs typeface="Arial" panose="020B0604020202020204" pitchFamily="34" charset="0"/>
              </a:rPr>
              <a:t> de la </a:t>
            </a:r>
            <a:r>
              <a:rPr lang="en-GB" b="1" dirty="0">
                <a:solidFill>
                  <a:schemeClr val="bg1"/>
                </a:solidFill>
                <a:highlight>
                  <a:srgbClr val="EA3A55"/>
                </a:highlight>
                <a:latin typeface="Arial" panose="020B0604020202020204" pitchFamily="34" charset="0"/>
                <a:cs typeface="Arial" panose="020B0604020202020204" pitchFamily="34" charset="0"/>
              </a:rPr>
              <a:t>persona</a:t>
            </a:r>
            <a:r>
              <a:rPr lang="en-GB" dirty="0">
                <a:solidFill>
                  <a:schemeClr val="bg1"/>
                </a:solidFill>
                <a:latin typeface="Arial" panose="020B0604020202020204" pitchFamily="34" charset="0"/>
                <a:cs typeface="Arial" panose="020B0604020202020204" pitchFamily="34" charset="0"/>
              </a:rPr>
              <a:t> </a:t>
            </a:r>
            <a:r>
              <a:rPr lang="en-GB" dirty="0" err="1">
                <a:solidFill>
                  <a:schemeClr val="bg1"/>
                </a:solidFill>
                <a:latin typeface="Arial" panose="020B0604020202020204" pitchFamily="34" charset="0"/>
                <a:cs typeface="Arial" panose="020B0604020202020204" pitchFamily="34" charset="0"/>
              </a:rPr>
              <a:t>asociada</a:t>
            </a:r>
            <a:r>
              <a:rPr lang="en-GB" dirty="0">
                <a:solidFill>
                  <a:schemeClr val="bg1"/>
                </a:solidFill>
                <a:latin typeface="Arial" panose="020B0604020202020204" pitchFamily="34" charset="0"/>
                <a:cs typeface="Arial" panose="020B0604020202020204" pitchFamily="34" charset="0"/>
              </a:rPr>
              <a:t>. </a:t>
            </a:r>
            <a:r>
              <a:rPr lang="en-GB" dirty="0" err="1">
                <a:solidFill>
                  <a:schemeClr val="bg1"/>
                </a:solidFill>
                <a:latin typeface="Arial" panose="020B0604020202020204" pitchFamily="34" charset="0"/>
                <a:cs typeface="Arial" panose="020B0604020202020204" pitchFamily="34" charset="0"/>
              </a:rPr>
              <a:t>En</a:t>
            </a:r>
            <a:r>
              <a:rPr lang="en-GB" dirty="0">
                <a:solidFill>
                  <a:schemeClr val="bg1"/>
                </a:solidFill>
                <a:latin typeface="Arial" panose="020B0604020202020204" pitchFamily="34" charset="0"/>
                <a:cs typeface="Arial" panose="020B0604020202020204" pitchFamily="34" charset="0"/>
              </a:rPr>
              <a:t> las </a:t>
            </a:r>
            <a:r>
              <a:rPr lang="en-GB" dirty="0" err="1">
                <a:solidFill>
                  <a:schemeClr val="bg1"/>
                </a:solidFill>
                <a:latin typeface="Arial" panose="020B0604020202020204" pitchFamily="34" charset="0"/>
                <a:cs typeface="Arial" panose="020B0604020202020204" pitchFamily="34" charset="0"/>
              </a:rPr>
              <a:t>páginas</a:t>
            </a:r>
            <a:r>
              <a:rPr lang="en-GB" dirty="0">
                <a:solidFill>
                  <a:schemeClr val="bg1"/>
                </a:solidFill>
                <a:latin typeface="Arial" panose="020B0604020202020204" pitchFamily="34" charset="0"/>
                <a:cs typeface="Arial" panose="020B0604020202020204" pitchFamily="34" charset="0"/>
              </a:rPr>
              <a:t> </a:t>
            </a:r>
            <a:r>
              <a:rPr lang="en-GB" dirty="0" err="1">
                <a:solidFill>
                  <a:schemeClr val="bg1"/>
                </a:solidFill>
                <a:latin typeface="Arial" panose="020B0604020202020204" pitchFamily="34" charset="0"/>
                <a:cs typeface="Arial" panose="020B0604020202020204" pitchFamily="34" charset="0"/>
              </a:rPr>
              <a:t>siguientes</a:t>
            </a:r>
            <a:r>
              <a:rPr lang="en-GB" dirty="0">
                <a:solidFill>
                  <a:schemeClr val="bg1"/>
                </a:solidFill>
                <a:latin typeface="Arial" panose="020B0604020202020204" pitchFamily="34" charset="0"/>
                <a:cs typeface="Arial" panose="020B0604020202020204" pitchFamily="34" charset="0"/>
              </a:rPr>
              <a:t> se </a:t>
            </a:r>
            <a:r>
              <a:rPr lang="en-GB" dirty="0" err="1">
                <a:solidFill>
                  <a:schemeClr val="bg1"/>
                </a:solidFill>
                <a:latin typeface="Arial" panose="020B0604020202020204" pitchFamily="34" charset="0"/>
                <a:cs typeface="Arial" panose="020B0604020202020204" pitchFamily="34" charset="0"/>
              </a:rPr>
              <a:t>encuentra</a:t>
            </a:r>
            <a:r>
              <a:rPr lang="en-GB" dirty="0">
                <a:solidFill>
                  <a:schemeClr val="bg1"/>
                </a:solidFill>
                <a:latin typeface="Arial" panose="020B0604020202020204" pitchFamily="34" charset="0"/>
                <a:cs typeface="Arial" panose="020B0604020202020204" pitchFamily="34" charset="0"/>
              </a:rPr>
              <a:t> la </a:t>
            </a:r>
            <a:r>
              <a:rPr lang="en-GB" dirty="0" err="1">
                <a:solidFill>
                  <a:schemeClr val="bg1"/>
                </a:solidFill>
                <a:latin typeface="Arial" panose="020B0604020202020204" pitchFamily="34" charset="0"/>
                <a:cs typeface="Arial" panose="020B0604020202020204" pitchFamily="34" charset="0"/>
              </a:rPr>
              <a:t>plantilla</a:t>
            </a:r>
            <a:r>
              <a:rPr lang="en-GB" dirty="0">
                <a:solidFill>
                  <a:schemeClr val="bg1"/>
                </a:solidFill>
                <a:latin typeface="Arial" panose="020B0604020202020204" pitchFamily="34" charset="0"/>
                <a:cs typeface="Arial" panose="020B0604020202020204" pitchFamily="34" charset="0"/>
              </a:rPr>
              <a:t> de persona y de customer journey. </a:t>
            </a:r>
          </a:p>
          <a:p>
            <a:pPr marL="285750" marR="0" lvl="0" indent="-285750"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GB" dirty="0">
                <a:solidFill>
                  <a:schemeClr val="bg1"/>
                </a:solidFill>
                <a:latin typeface="Arial" panose="020B0604020202020204" pitchFamily="34" charset="0"/>
                <a:cs typeface="Arial" panose="020B0604020202020204" pitchFamily="34" charset="0"/>
              </a:rPr>
              <a:t>Si bien no es </a:t>
            </a:r>
            <a:r>
              <a:rPr lang="en-GB" dirty="0" err="1">
                <a:solidFill>
                  <a:schemeClr val="bg1"/>
                </a:solidFill>
                <a:latin typeface="Arial" panose="020B0604020202020204" pitchFamily="34" charset="0"/>
                <a:cs typeface="Arial" panose="020B0604020202020204" pitchFamily="34" charset="0"/>
              </a:rPr>
              <a:t>necesario</a:t>
            </a:r>
            <a:r>
              <a:rPr lang="en-GB" dirty="0">
                <a:solidFill>
                  <a:schemeClr val="bg1"/>
                </a:solidFill>
                <a:latin typeface="Arial" panose="020B0604020202020204" pitchFamily="34" charset="0"/>
                <a:cs typeface="Arial" panose="020B0604020202020204" pitchFamily="34" charset="0"/>
              </a:rPr>
              <a:t> </a:t>
            </a:r>
            <a:r>
              <a:rPr lang="en-GB" dirty="0" err="1">
                <a:solidFill>
                  <a:schemeClr val="bg1"/>
                </a:solidFill>
                <a:latin typeface="Arial" panose="020B0604020202020204" pitchFamily="34" charset="0"/>
                <a:cs typeface="Arial" panose="020B0604020202020204" pitchFamily="34" charset="0"/>
              </a:rPr>
              <a:t>utilizar</a:t>
            </a:r>
            <a:r>
              <a:rPr lang="en-GB" dirty="0">
                <a:solidFill>
                  <a:schemeClr val="bg1"/>
                </a:solidFill>
                <a:latin typeface="Arial" panose="020B0604020202020204" pitchFamily="34" charset="0"/>
                <a:cs typeface="Arial" panose="020B0604020202020204" pitchFamily="34" charset="0"/>
              </a:rPr>
              <a:t> </a:t>
            </a:r>
            <a:r>
              <a:rPr lang="en-GB" dirty="0" err="1">
                <a:solidFill>
                  <a:schemeClr val="bg1"/>
                </a:solidFill>
                <a:latin typeface="Arial" panose="020B0604020202020204" pitchFamily="34" charset="0"/>
                <a:cs typeface="Arial" panose="020B0604020202020204" pitchFamily="34" charset="0"/>
              </a:rPr>
              <a:t>estas</a:t>
            </a:r>
            <a:r>
              <a:rPr lang="en-GB" dirty="0">
                <a:solidFill>
                  <a:schemeClr val="bg1"/>
                </a:solidFill>
                <a:latin typeface="Arial" panose="020B0604020202020204" pitchFamily="34" charset="0"/>
                <a:cs typeface="Arial" panose="020B0604020202020204" pitchFamily="34" charset="0"/>
              </a:rPr>
              <a:t> </a:t>
            </a:r>
            <a:r>
              <a:rPr lang="en-GB" dirty="0" err="1">
                <a:solidFill>
                  <a:schemeClr val="bg1"/>
                </a:solidFill>
                <a:latin typeface="Arial" panose="020B0604020202020204" pitchFamily="34" charset="0"/>
                <a:cs typeface="Arial" panose="020B0604020202020204" pitchFamily="34" charset="0"/>
              </a:rPr>
              <a:t>plantillas</a:t>
            </a:r>
            <a:r>
              <a:rPr lang="en-GB" dirty="0">
                <a:solidFill>
                  <a:schemeClr val="bg1"/>
                </a:solidFill>
                <a:latin typeface="Arial" panose="020B0604020202020204" pitchFamily="34" charset="0"/>
                <a:cs typeface="Arial" panose="020B0604020202020204" pitchFamily="34" charset="0"/>
              </a:rPr>
              <a:t>, se </a:t>
            </a:r>
            <a:r>
              <a:rPr lang="en-GB" dirty="0" err="1">
                <a:solidFill>
                  <a:schemeClr val="bg1"/>
                </a:solidFill>
                <a:latin typeface="Arial" panose="020B0604020202020204" pitchFamily="34" charset="0"/>
                <a:cs typeface="Arial" panose="020B0604020202020204" pitchFamily="34" charset="0"/>
              </a:rPr>
              <a:t>espera</a:t>
            </a:r>
            <a:r>
              <a:rPr lang="en-GB" dirty="0">
                <a:solidFill>
                  <a:schemeClr val="bg1"/>
                </a:solidFill>
                <a:latin typeface="Arial" panose="020B0604020202020204" pitchFamily="34" charset="0"/>
                <a:cs typeface="Arial" panose="020B0604020202020204" pitchFamily="34" charset="0"/>
              </a:rPr>
              <a:t> que se </a:t>
            </a:r>
            <a:r>
              <a:rPr lang="en-GB" dirty="0" err="1">
                <a:solidFill>
                  <a:schemeClr val="bg1"/>
                </a:solidFill>
                <a:latin typeface="Arial" panose="020B0604020202020204" pitchFamily="34" charset="0"/>
                <a:cs typeface="Arial" panose="020B0604020202020204" pitchFamily="34" charset="0"/>
              </a:rPr>
              <a:t>incluya</a:t>
            </a:r>
            <a:r>
              <a:rPr lang="en-GB" dirty="0">
                <a:solidFill>
                  <a:schemeClr val="bg1"/>
                </a:solidFill>
                <a:latin typeface="Arial" panose="020B0604020202020204" pitchFamily="34" charset="0"/>
                <a:cs typeface="Arial" panose="020B0604020202020204" pitchFamily="34" charset="0"/>
              </a:rPr>
              <a:t> </a:t>
            </a:r>
            <a:r>
              <a:rPr lang="en-GB" dirty="0" err="1">
                <a:solidFill>
                  <a:schemeClr val="bg1"/>
                </a:solidFill>
                <a:latin typeface="Arial" panose="020B0604020202020204" pitchFamily="34" charset="0"/>
                <a:cs typeface="Arial" panose="020B0604020202020204" pitchFamily="34" charset="0"/>
              </a:rPr>
              <a:t>toda</a:t>
            </a:r>
            <a:r>
              <a:rPr lang="en-GB" dirty="0">
                <a:solidFill>
                  <a:schemeClr val="bg1"/>
                </a:solidFill>
                <a:latin typeface="Arial" panose="020B0604020202020204" pitchFamily="34" charset="0"/>
                <a:cs typeface="Arial" panose="020B0604020202020204" pitchFamily="34" charset="0"/>
              </a:rPr>
              <a:t> la </a:t>
            </a:r>
            <a:r>
              <a:rPr lang="en-GB" b="1" u="sng" dirty="0" err="1">
                <a:solidFill>
                  <a:schemeClr val="bg1"/>
                </a:solidFill>
                <a:latin typeface="Arial" panose="020B0604020202020204" pitchFamily="34" charset="0"/>
                <a:cs typeface="Arial" panose="020B0604020202020204" pitchFamily="34" charset="0"/>
              </a:rPr>
              <a:t>información</a:t>
            </a:r>
            <a:r>
              <a:rPr lang="en-GB" b="1" u="sng" dirty="0">
                <a:solidFill>
                  <a:schemeClr val="bg1"/>
                </a:solidFill>
                <a:latin typeface="Arial" panose="020B0604020202020204" pitchFamily="34" charset="0"/>
                <a:cs typeface="Arial" panose="020B0604020202020204" pitchFamily="34" charset="0"/>
              </a:rPr>
              <a:t> </a:t>
            </a:r>
            <a:r>
              <a:rPr lang="en-GB" b="1" u="sng" dirty="0" err="1">
                <a:solidFill>
                  <a:schemeClr val="bg1"/>
                </a:solidFill>
                <a:latin typeface="Arial" panose="020B0604020202020204" pitchFamily="34" charset="0"/>
                <a:cs typeface="Arial" panose="020B0604020202020204" pitchFamily="34" charset="0"/>
              </a:rPr>
              <a:t>requerida</a:t>
            </a:r>
            <a:r>
              <a:rPr lang="en-GB" b="1" dirty="0">
                <a:solidFill>
                  <a:schemeClr val="bg1"/>
                </a:solidFill>
                <a:latin typeface="Arial" panose="020B0604020202020204" pitchFamily="34" charset="0"/>
                <a:cs typeface="Arial" panose="020B0604020202020204" pitchFamily="34" charset="0"/>
              </a:rPr>
              <a:t>, </a:t>
            </a:r>
            <a:r>
              <a:rPr lang="en-GB" b="1" dirty="0" err="1">
                <a:solidFill>
                  <a:schemeClr val="bg1"/>
                </a:solidFill>
                <a:latin typeface="Arial" panose="020B0604020202020204" pitchFamily="34" charset="0"/>
                <a:cs typeface="Arial" panose="020B0604020202020204" pitchFamily="34" charset="0"/>
              </a:rPr>
              <a:t>independientemente</a:t>
            </a:r>
            <a:r>
              <a:rPr lang="en-GB" b="1" dirty="0">
                <a:solidFill>
                  <a:schemeClr val="bg1"/>
                </a:solidFill>
                <a:latin typeface="Arial" panose="020B0604020202020204" pitchFamily="34" charset="0"/>
                <a:cs typeface="Arial" panose="020B0604020202020204" pitchFamily="34" charset="0"/>
              </a:rPr>
              <a:t> del </a:t>
            </a:r>
            <a:r>
              <a:rPr lang="en-GB" b="1" dirty="0" err="1">
                <a:solidFill>
                  <a:schemeClr val="bg1"/>
                </a:solidFill>
                <a:latin typeface="Arial" panose="020B0604020202020204" pitchFamily="34" charset="0"/>
                <a:cs typeface="Arial" panose="020B0604020202020204" pitchFamily="34" charset="0"/>
              </a:rPr>
              <a:t>formato</a:t>
            </a:r>
            <a:r>
              <a:rPr lang="en-GB" b="1" dirty="0">
                <a:solidFill>
                  <a:schemeClr val="bg1"/>
                </a:solidFill>
                <a:latin typeface="Arial" panose="020B0604020202020204" pitchFamily="34" charset="0"/>
                <a:cs typeface="Arial" panose="020B0604020202020204" pitchFamily="34" charset="0"/>
              </a:rPr>
              <a:t> </a:t>
            </a:r>
            <a:r>
              <a:rPr lang="en-GB" b="1" dirty="0" err="1">
                <a:solidFill>
                  <a:schemeClr val="bg1"/>
                </a:solidFill>
                <a:latin typeface="Arial" panose="020B0604020202020204" pitchFamily="34" charset="0"/>
                <a:cs typeface="Arial" panose="020B0604020202020204" pitchFamily="34" charset="0"/>
              </a:rPr>
              <a:t>utilizado</a:t>
            </a:r>
            <a:r>
              <a:rPr lang="en-GB" b="1" dirty="0">
                <a:solidFill>
                  <a:schemeClr val="bg1"/>
                </a:solidFill>
                <a:latin typeface="Arial" panose="020B0604020202020204" pitchFamily="34" charset="0"/>
                <a:cs typeface="Arial" panose="020B0604020202020204" pitchFamily="34" charset="0"/>
              </a:rPr>
              <a:t>.</a:t>
            </a:r>
          </a:p>
          <a:p>
            <a:pPr marR="0" lvl="0" defTabSz="914400" rtl="0" eaLnBrk="1" fontAlgn="auto" latinLnBrk="0" hangingPunct="1">
              <a:lnSpc>
                <a:spcPct val="150000"/>
              </a:lnSpc>
              <a:spcBef>
                <a:spcPts val="0"/>
              </a:spcBef>
              <a:spcAft>
                <a:spcPts val="0"/>
              </a:spcAft>
              <a:buClrTx/>
              <a:buSzTx/>
              <a:tabLst/>
              <a:defRPr/>
            </a:pPr>
            <a:r>
              <a:rPr lang="en-GB" b="1" dirty="0">
                <a:solidFill>
                  <a:schemeClr val="bg1"/>
                </a:solidFill>
                <a:latin typeface="Arial" panose="020B0604020202020204" pitchFamily="34" charset="0"/>
                <a:cs typeface="Arial" panose="020B0604020202020204" pitchFamily="34" charset="0"/>
              </a:rPr>
              <a:t>	La </a:t>
            </a:r>
            <a:r>
              <a:rPr lang="en-GB" b="1" dirty="0" err="1">
                <a:solidFill>
                  <a:schemeClr val="bg1"/>
                </a:solidFill>
                <a:latin typeface="Arial" panose="020B0604020202020204" pitchFamily="34" charset="0"/>
                <a:cs typeface="Arial" panose="020B0604020202020204" pitchFamily="34" charset="0"/>
              </a:rPr>
              <a:t>información</a:t>
            </a:r>
            <a:r>
              <a:rPr lang="en-GB" b="1" dirty="0">
                <a:solidFill>
                  <a:schemeClr val="bg1"/>
                </a:solidFill>
                <a:latin typeface="Arial" panose="020B0604020202020204" pitchFamily="34" charset="0"/>
                <a:cs typeface="Arial" panose="020B0604020202020204" pitchFamily="34" charset="0"/>
              </a:rPr>
              <a:t> minima </a:t>
            </a:r>
            <a:r>
              <a:rPr lang="en-GB" b="1" dirty="0" err="1">
                <a:solidFill>
                  <a:schemeClr val="bg1"/>
                </a:solidFill>
                <a:latin typeface="Arial" panose="020B0604020202020204" pitchFamily="34" charset="0"/>
                <a:cs typeface="Arial" panose="020B0604020202020204" pitchFamily="34" charset="0"/>
              </a:rPr>
              <a:t>requerida</a:t>
            </a:r>
            <a:r>
              <a:rPr lang="en-GB" b="1" dirty="0">
                <a:solidFill>
                  <a:schemeClr val="bg1"/>
                </a:solidFill>
                <a:latin typeface="Arial" panose="020B0604020202020204" pitchFamily="34" charset="0"/>
                <a:cs typeface="Arial" panose="020B0604020202020204" pitchFamily="34" charset="0"/>
              </a:rPr>
              <a:t> se </a:t>
            </a:r>
            <a:r>
              <a:rPr lang="en-GB" b="1" dirty="0" err="1">
                <a:solidFill>
                  <a:schemeClr val="bg1"/>
                </a:solidFill>
                <a:latin typeface="Arial" panose="020B0604020202020204" pitchFamily="34" charset="0"/>
                <a:cs typeface="Arial" panose="020B0604020202020204" pitchFamily="34" charset="0"/>
              </a:rPr>
              <a:t>encuentra</a:t>
            </a:r>
            <a:r>
              <a:rPr lang="en-GB" b="1" dirty="0">
                <a:solidFill>
                  <a:schemeClr val="bg1"/>
                </a:solidFill>
                <a:latin typeface="Arial" panose="020B0604020202020204" pitchFamily="34" charset="0"/>
                <a:cs typeface="Arial" panose="020B0604020202020204" pitchFamily="34" charset="0"/>
              </a:rPr>
              <a:t> </a:t>
            </a:r>
            <a:r>
              <a:rPr lang="en-GB" b="1" dirty="0" err="1">
                <a:solidFill>
                  <a:schemeClr val="bg1"/>
                </a:solidFill>
                <a:latin typeface="Arial" panose="020B0604020202020204" pitchFamily="34" charset="0"/>
                <a:cs typeface="Arial" panose="020B0604020202020204" pitchFamily="34" charset="0"/>
              </a:rPr>
              <a:t>marcada</a:t>
            </a:r>
            <a:r>
              <a:rPr lang="en-GB" b="1" dirty="0">
                <a:solidFill>
                  <a:schemeClr val="bg1"/>
                </a:solidFill>
                <a:latin typeface="Arial" panose="020B0604020202020204" pitchFamily="34" charset="0"/>
                <a:cs typeface="Arial" panose="020B0604020202020204" pitchFamily="34" charset="0"/>
              </a:rPr>
              <a:t> con una </a:t>
            </a:r>
            <a:r>
              <a:rPr lang="en-GB" b="1" dirty="0" err="1">
                <a:solidFill>
                  <a:schemeClr val="bg1"/>
                </a:solidFill>
                <a:latin typeface="Arial" panose="020B0604020202020204" pitchFamily="34" charset="0"/>
                <a:cs typeface="Arial" panose="020B0604020202020204" pitchFamily="34" charset="0"/>
              </a:rPr>
              <a:t>flecha</a:t>
            </a:r>
            <a:r>
              <a:rPr lang="en-GB" b="1" dirty="0">
                <a:solidFill>
                  <a:schemeClr val="bg1"/>
                </a:solidFill>
                <a:latin typeface="Arial" panose="020B0604020202020204" pitchFamily="34" charset="0"/>
                <a:cs typeface="Arial" panose="020B0604020202020204" pitchFamily="34" charset="0"/>
              </a:rPr>
              <a:t> </a:t>
            </a:r>
            <a:r>
              <a:rPr lang="en-GB" b="1" dirty="0" err="1">
                <a:solidFill>
                  <a:schemeClr val="bg1"/>
                </a:solidFill>
                <a:latin typeface="Arial" panose="020B0604020202020204" pitchFamily="34" charset="0"/>
                <a:cs typeface="Arial" panose="020B0604020202020204" pitchFamily="34" charset="0"/>
              </a:rPr>
              <a:t>blanca</a:t>
            </a:r>
            <a:r>
              <a:rPr lang="en-GB" b="1" dirty="0">
                <a:solidFill>
                  <a:schemeClr val="bg1"/>
                </a:solidFill>
                <a:latin typeface="Arial" panose="020B0604020202020204" pitchFamily="34" charset="0"/>
                <a:cs typeface="Arial" panose="020B0604020202020204" pitchFamily="34" charset="0"/>
              </a:rPr>
              <a:t>  </a:t>
            </a:r>
          </a:p>
          <a:p>
            <a:pPr marR="0" lvl="0" defTabSz="914400" rtl="0" eaLnBrk="1" fontAlgn="auto" latinLnBrk="0" hangingPunct="1">
              <a:lnSpc>
                <a:spcPct val="150000"/>
              </a:lnSpc>
              <a:spcBef>
                <a:spcPts val="0"/>
              </a:spcBef>
              <a:spcAft>
                <a:spcPts val="0"/>
              </a:spcAft>
              <a:buClrTx/>
              <a:buSzTx/>
              <a:tabLst/>
              <a:defRPr/>
            </a:pPr>
            <a:endParaRPr lang="en-GB" b="1" dirty="0">
              <a:solidFill>
                <a:schemeClr val="bg1"/>
              </a:solidFill>
              <a:latin typeface="Arial" panose="020B0604020202020204" pitchFamily="34" charset="0"/>
              <a:cs typeface="Arial" panose="020B0604020202020204" pitchFamily="34" charset="0"/>
            </a:endParaRPr>
          </a:p>
          <a:p>
            <a:pPr marR="0" lvl="0" defTabSz="914400" rtl="0" eaLnBrk="1" fontAlgn="auto" latinLnBrk="0" hangingPunct="1">
              <a:lnSpc>
                <a:spcPct val="150000"/>
              </a:lnSpc>
              <a:spcBef>
                <a:spcPts val="0"/>
              </a:spcBef>
              <a:spcAft>
                <a:spcPts val="0"/>
              </a:spcAft>
              <a:buClrTx/>
              <a:buSzTx/>
              <a:tabLst/>
              <a:defRPr/>
            </a:pPr>
            <a:r>
              <a:rPr lang="en-GB" b="1" dirty="0" err="1">
                <a:solidFill>
                  <a:schemeClr val="bg1"/>
                </a:solidFill>
                <a:latin typeface="Arial" panose="020B0604020202020204" pitchFamily="34" charset="0"/>
                <a:cs typeface="Arial" panose="020B0604020202020204" pitchFamily="34" charset="0"/>
              </a:rPr>
              <a:t>Algunas</a:t>
            </a:r>
            <a:r>
              <a:rPr lang="en-GB" b="1" dirty="0">
                <a:solidFill>
                  <a:schemeClr val="bg1"/>
                </a:solidFill>
                <a:latin typeface="Arial" panose="020B0604020202020204" pitchFamily="34" charset="0"/>
                <a:cs typeface="Arial" panose="020B0604020202020204" pitchFamily="34" charset="0"/>
              </a:rPr>
              <a:t> </a:t>
            </a:r>
            <a:r>
              <a:rPr lang="en-GB" b="1" dirty="0" err="1">
                <a:solidFill>
                  <a:schemeClr val="bg1"/>
                </a:solidFill>
                <a:latin typeface="Arial" panose="020B0604020202020204" pitchFamily="34" charset="0"/>
                <a:cs typeface="Arial" panose="020B0604020202020204" pitchFamily="34" charset="0"/>
              </a:rPr>
              <a:t>herramientas</a:t>
            </a:r>
            <a:r>
              <a:rPr lang="en-GB" b="1" dirty="0">
                <a:solidFill>
                  <a:schemeClr val="bg1"/>
                </a:solidFill>
                <a:latin typeface="Arial" panose="020B0604020202020204" pitchFamily="34" charset="0"/>
                <a:cs typeface="Arial" panose="020B0604020202020204" pitchFamily="34" charset="0"/>
              </a:rPr>
              <a:t> </a:t>
            </a:r>
            <a:r>
              <a:rPr lang="en-GB" b="1" dirty="0" err="1">
                <a:solidFill>
                  <a:schemeClr val="bg1"/>
                </a:solidFill>
                <a:latin typeface="Arial" panose="020B0604020202020204" pitchFamily="34" charset="0"/>
                <a:cs typeface="Arial" panose="020B0604020202020204" pitchFamily="34" charset="0"/>
              </a:rPr>
              <a:t>digitales</a:t>
            </a:r>
            <a:r>
              <a:rPr lang="en-GB" b="1" dirty="0">
                <a:solidFill>
                  <a:schemeClr val="bg1"/>
                </a:solidFill>
                <a:latin typeface="Arial" panose="020B0604020202020204" pitchFamily="34" charset="0"/>
                <a:cs typeface="Arial" panose="020B0604020202020204" pitchFamily="34" charset="0"/>
              </a:rPr>
              <a:t> que les </a:t>
            </a:r>
            <a:r>
              <a:rPr lang="en-GB" b="1" dirty="0" err="1">
                <a:solidFill>
                  <a:schemeClr val="bg1"/>
                </a:solidFill>
                <a:latin typeface="Arial" panose="020B0604020202020204" pitchFamily="34" charset="0"/>
                <a:cs typeface="Arial" panose="020B0604020202020204" pitchFamily="34" charset="0"/>
              </a:rPr>
              <a:t>pueden</a:t>
            </a:r>
            <a:r>
              <a:rPr lang="en-GB" b="1" dirty="0">
                <a:solidFill>
                  <a:schemeClr val="bg1"/>
                </a:solidFill>
                <a:latin typeface="Arial" panose="020B0604020202020204" pitchFamily="34" charset="0"/>
                <a:cs typeface="Arial" panose="020B0604020202020204" pitchFamily="34" charset="0"/>
              </a:rPr>
              <a:t> </a:t>
            </a:r>
            <a:r>
              <a:rPr lang="en-GB" b="1" dirty="0" err="1">
                <a:solidFill>
                  <a:schemeClr val="bg1"/>
                </a:solidFill>
                <a:latin typeface="Arial" panose="020B0604020202020204" pitchFamily="34" charset="0"/>
                <a:cs typeface="Arial" panose="020B0604020202020204" pitchFamily="34" charset="0"/>
              </a:rPr>
              <a:t>ayudar</a:t>
            </a:r>
            <a:r>
              <a:rPr lang="en-GB" b="1" dirty="0">
                <a:solidFill>
                  <a:schemeClr val="bg1"/>
                </a:solidFill>
                <a:latin typeface="Arial" panose="020B0604020202020204" pitchFamily="34" charset="0"/>
                <a:cs typeface="Arial" panose="020B0604020202020204" pitchFamily="34" charset="0"/>
              </a:rPr>
              <a:t> a </a:t>
            </a:r>
            <a:r>
              <a:rPr lang="en-GB" b="1" dirty="0" err="1">
                <a:solidFill>
                  <a:schemeClr val="bg1"/>
                </a:solidFill>
                <a:latin typeface="Arial" panose="020B0604020202020204" pitchFamily="34" charset="0"/>
                <a:cs typeface="Arial" panose="020B0604020202020204" pitchFamily="34" charset="0"/>
              </a:rPr>
              <a:t>construir</a:t>
            </a:r>
            <a:r>
              <a:rPr lang="en-GB" b="1" dirty="0">
                <a:solidFill>
                  <a:schemeClr val="bg1"/>
                </a:solidFill>
                <a:latin typeface="Arial" panose="020B0604020202020204" pitchFamily="34" charset="0"/>
                <a:cs typeface="Arial" panose="020B0604020202020204" pitchFamily="34" charset="0"/>
              </a:rPr>
              <a:t> el customer journey son:</a:t>
            </a:r>
          </a:p>
          <a:p>
            <a:pPr marL="285750" marR="0" lvl="0" indent="-285750" defTabSz="914400" rtl="0" eaLnBrk="1" fontAlgn="auto" latinLnBrk="0" hangingPunct="1">
              <a:spcBef>
                <a:spcPts val="0"/>
              </a:spcBef>
              <a:spcAft>
                <a:spcPts val="0"/>
              </a:spcAft>
              <a:buClrTx/>
              <a:buSzTx/>
              <a:buFont typeface="Arial" panose="020B0604020202020204" pitchFamily="34" charset="0"/>
              <a:buChar char="•"/>
              <a:tabLst/>
              <a:defRPr/>
            </a:pPr>
            <a:r>
              <a:rPr lang="en-GB" dirty="0" err="1">
                <a:solidFill>
                  <a:schemeClr val="bg1"/>
                </a:solidFill>
                <a:latin typeface="Arial" panose="020B0604020202020204" pitchFamily="34" charset="0"/>
                <a:cs typeface="Arial" panose="020B0604020202020204" pitchFamily="34" charset="0"/>
              </a:rPr>
              <a:t>Lucidchart</a:t>
            </a:r>
            <a:endParaRPr lang="en-GB" dirty="0">
              <a:solidFill>
                <a:schemeClr val="bg1"/>
              </a:solidFill>
              <a:latin typeface="Arial" panose="020B0604020202020204" pitchFamily="34" charset="0"/>
              <a:cs typeface="Arial" panose="020B0604020202020204" pitchFamily="34" charset="0"/>
            </a:endParaRPr>
          </a:p>
          <a:p>
            <a:pPr marL="285750" marR="0" lvl="0" indent="-285750" defTabSz="914400" rtl="0" eaLnBrk="1" fontAlgn="auto" latinLnBrk="0" hangingPunct="1">
              <a:spcBef>
                <a:spcPts val="0"/>
              </a:spcBef>
              <a:spcAft>
                <a:spcPts val="0"/>
              </a:spcAft>
              <a:buClrTx/>
              <a:buSzTx/>
              <a:buFont typeface="Arial" panose="020B0604020202020204" pitchFamily="34" charset="0"/>
              <a:buChar char="•"/>
              <a:tabLst/>
              <a:defRPr/>
            </a:pPr>
            <a:r>
              <a:rPr lang="en-GB" dirty="0">
                <a:solidFill>
                  <a:schemeClr val="bg1"/>
                </a:solidFill>
                <a:latin typeface="Arial" panose="020B0604020202020204" pitchFamily="34" charset="0"/>
                <a:cs typeface="Arial" panose="020B0604020202020204" pitchFamily="34" charset="0"/>
              </a:rPr>
              <a:t>Mural</a:t>
            </a:r>
          </a:p>
          <a:p>
            <a:pPr marL="285750" marR="0" lvl="0" indent="-285750" defTabSz="914400" rtl="0" eaLnBrk="1" fontAlgn="auto" latinLnBrk="0" hangingPunct="1">
              <a:spcBef>
                <a:spcPts val="0"/>
              </a:spcBef>
              <a:spcAft>
                <a:spcPts val="0"/>
              </a:spcAft>
              <a:buClrTx/>
              <a:buSzTx/>
              <a:buFont typeface="Arial" panose="020B0604020202020204" pitchFamily="34" charset="0"/>
              <a:buChar char="•"/>
              <a:tabLst/>
              <a:defRPr/>
            </a:pPr>
            <a:r>
              <a:rPr lang="en-GB" dirty="0">
                <a:solidFill>
                  <a:schemeClr val="bg1"/>
                </a:solidFill>
                <a:latin typeface="Arial" panose="020B0604020202020204" pitchFamily="34" charset="0"/>
                <a:cs typeface="Arial" panose="020B0604020202020204" pitchFamily="34" charset="0"/>
              </a:rPr>
              <a:t>Miro</a:t>
            </a:r>
          </a:p>
          <a:p>
            <a:pPr marL="285750" marR="0" lvl="0" indent="-285750" defTabSz="914400" rtl="0" eaLnBrk="1" fontAlgn="auto" latinLnBrk="0" hangingPunct="1">
              <a:spcBef>
                <a:spcPts val="0"/>
              </a:spcBef>
              <a:spcAft>
                <a:spcPts val="0"/>
              </a:spcAft>
              <a:buClrTx/>
              <a:buSzTx/>
              <a:buFont typeface="Arial" panose="020B0604020202020204" pitchFamily="34" charset="0"/>
              <a:buChar char="•"/>
              <a:tabLst/>
              <a:defRPr/>
            </a:pPr>
            <a:r>
              <a:rPr lang="en-GB" dirty="0">
                <a:solidFill>
                  <a:schemeClr val="bg1"/>
                </a:solidFill>
                <a:latin typeface="Arial" panose="020B0604020202020204" pitchFamily="34" charset="0"/>
                <a:cs typeface="Arial" panose="020B0604020202020204" pitchFamily="34" charset="0"/>
              </a:rPr>
              <a:t>Sketch</a:t>
            </a:r>
          </a:p>
          <a:p>
            <a:pPr marL="285750" marR="0" lvl="0" indent="-285750" defTabSz="914400" rtl="0" eaLnBrk="1" fontAlgn="auto" latinLnBrk="0" hangingPunct="1">
              <a:spcBef>
                <a:spcPts val="0"/>
              </a:spcBef>
              <a:spcAft>
                <a:spcPts val="0"/>
              </a:spcAft>
              <a:buClrTx/>
              <a:buSzTx/>
              <a:buFont typeface="Arial" panose="020B0604020202020204" pitchFamily="34" charset="0"/>
              <a:buChar char="•"/>
              <a:tabLst/>
              <a:defRPr/>
            </a:pPr>
            <a:r>
              <a:rPr lang="en-GB" dirty="0">
                <a:solidFill>
                  <a:schemeClr val="bg1"/>
                </a:solidFill>
                <a:latin typeface="Arial" panose="020B0604020202020204" pitchFamily="34" charset="0"/>
                <a:cs typeface="Arial" panose="020B0604020202020204" pitchFamily="34" charset="0"/>
              </a:rPr>
              <a:t>Adobe XD</a:t>
            </a:r>
          </a:p>
          <a:p>
            <a:pPr marL="285750" marR="0" lvl="0" indent="-285750" defTabSz="914400" rtl="0" eaLnBrk="1" fontAlgn="auto" latinLnBrk="0" hangingPunct="1">
              <a:spcBef>
                <a:spcPts val="0"/>
              </a:spcBef>
              <a:spcAft>
                <a:spcPts val="0"/>
              </a:spcAft>
              <a:buClrTx/>
              <a:buSzTx/>
              <a:buFont typeface="Arial" panose="020B0604020202020204" pitchFamily="34" charset="0"/>
              <a:buChar char="•"/>
              <a:tabLst/>
              <a:defRPr/>
            </a:pPr>
            <a:r>
              <a:rPr lang="en-GB" dirty="0">
                <a:solidFill>
                  <a:schemeClr val="bg1"/>
                </a:solidFill>
                <a:latin typeface="Arial" panose="020B0604020202020204" pitchFamily="34" charset="0"/>
                <a:cs typeface="Arial" panose="020B0604020202020204" pitchFamily="34" charset="0"/>
              </a:rPr>
              <a:t>Figma</a:t>
            </a:r>
          </a:p>
        </p:txBody>
      </p:sp>
      <p:sp>
        <p:nvSpPr>
          <p:cNvPr id="12" name="Arrow: Right 11">
            <a:extLst>
              <a:ext uri="{FF2B5EF4-FFF2-40B4-BE49-F238E27FC236}">
                <a16:creationId xmlns:a16="http://schemas.microsoft.com/office/drawing/2014/main" id="{CFF70544-672F-42EA-B13B-30140B1916E6}"/>
              </a:ext>
            </a:extLst>
          </p:cNvPr>
          <p:cNvSpPr/>
          <p:nvPr/>
        </p:nvSpPr>
        <p:spPr>
          <a:xfrm>
            <a:off x="1123078" y="3206549"/>
            <a:ext cx="366434" cy="222451"/>
          </a:xfrm>
          <a:prstGeom prst="rightArrow">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s-CO" sz="1200" dirty="0">
              <a:solidFill>
                <a:schemeClr val="tx1"/>
              </a:solidFill>
            </a:endParaRPr>
          </a:p>
        </p:txBody>
      </p:sp>
      <p:sp>
        <p:nvSpPr>
          <p:cNvPr id="2" name="Rectangle: Rounded Corners 1">
            <a:extLst>
              <a:ext uri="{FF2B5EF4-FFF2-40B4-BE49-F238E27FC236}">
                <a16:creationId xmlns:a16="http://schemas.microsoft.com/office/drawing/2014/main" id="{68EA5FB2-E061-4F05-8F80-5F71CF64B337}"/>
              </a:ext>
            </a:extLst>
          </p:cNvPr>
          <p:cNvSpPr/>
          <p:nvPr/>
        </p:nvSpPr>
        <p:spPr>
          <a:xfrm>
            <a:off x="3310467" y="4544363"/>
            <a:ext cx="7916334" cy="1685634"/>
          </a:xfrm>
          <a:custGeom>
            <a:avLst/>
            <a:gdLst>
              <a:gd name="connsiteX0" fmla="*/ 0 w 7916334"/>
              <a:gd name="connsiteY0" fmla="*/ 280945 h 1685634"/>
              <a:gd name="connsiteX1" fmla="*/ 280945 w 7916334"/>
              <a:gd name="connsiteY1" fmla="*/ 0 h 1685634"/>
              <a:gd name="connsiteX2" fmla="*/ 875986 w 7916334"/>
              <a:gd name="connsiteY2" fmla="*/ 0 h 1685634"/>
              <a:gd name="connsiteX3" fmla="*/ 1397483 w 7916334"/>
              <a:gd name="connsiteY3" fmla="*/ 0 h 1685634"/>
              <a:gd name="connsiteX4" fmla="*/ 2066069 w 7916334"/>
              <a:gd name="connsiteY4" fmla="*/ 0 h 1685634"/>
              <a:gd name="connsiteX5" fmla="*/ 2881744 w 7916334"/>
              <a:gd name="connsiteY5" fmla="*/ 0 h 1685634"/>
              <a:gd name="connsiteX6" fmla="*/ 3623874 w 7916334"/>
              <a:gd name="connsiteY6" fmla="*/ 0 h 1685634"/>
              <a:gd name="connsiteX7" fmla="*/ 4292460 w 7916334"/>
              <a:gd name="connsiteY7" fmla="*/ 0 h 1685634"/>
              <a:gd name="connsiteX8" fmla="*/ 4887501 w 7916334"/>
              <a:gd name="connsiteY8" fmla="*/ 0 h 1685634"/>
              <a:gd name="connsiteX9" fmla="*/ 5629632 w 7916334"/>
              <a:gd name="connsiteY9" fmla="*/ 0 h 1685634"/>
              <a:gd name="connsiteX10" fmla="*/ 6371762 w 7916334"/>
              <a:gd name="connsiteY10" fmla="*/ 0 h 1685634"/>
              <a:gd name="connsiteX11" fmla="*/ 7635389 w 7916334"/>
              <a:gd name="connsiteY11" fmla="*/ 0 h 1685634"/>
              <a:gd name="connsiteX12" fmla="*/ 7916334 w 7916334"/>
              <a:gd name="connsiteY12" fmla="*/ 280945 h 1685634"/>
              <a:gd name="connsiteX13" fmla="*/ 7916334 w 7916334"/>
              <a:gd name="connsiteY13" fmla="*/ 820342 h 1685634"/>
              <a:gd name="connsiteX14" fmla="*/ 7916334 w 7916334"/>
              <a:gd name="connsiteY14" fmla="*/ 1404689 h 1685634"/>
              <a:gd name="connsiteX15" fmla="*/ 7635389 w 7916334"/>
              <a:gd name="connsiteY15" fmla="*/ 1685634 h 1685634"/>
              <a:gd name="connsiteX16" fmla="*/ 6966803 w 7916334"/>
              <a:gd name="connsiteY16" fmla="*/ 1685634 h 1685634"/>
              <a:gd name="connsiteX17" fmla="*/ 6445306 w 7916334"/>
              <a:gd name="connsiteY17" fmla="*/ 1685634 h 1685634"/>
              <a:gd name="connsiteX18" fmla="*/ 5703176 w 7916334"/>
              <a:gd name="connsiteY18" fmla="*/ 1685634 h 1685634"/>
              <a:gd name="connsiteX19" fmla="*/ 5181679 w 7916334"/>
              <a:gd name="connsiteY19" fmla="*/ 1685634 h 1685634"/>
              <a:gd name="connsiteX20" fmla="*/ 4366004 w 7916334"/>
              <a:gd name="connsiteY20" fmla="*/ 1685634 h 1685634"/>
              <a:gd name="connsiteX21" fmla="*/ 3550330 w 7916334"/>
              <a:gd name="connsiteY21" fmla="*/ 1685634 h 1685634"/>
              <a:gd name="connsiteX22" fmla="*/ 3028833 w 7916334"/>
              <a:gd name="connsiteY22" fmla="*/ 1685634 h 1685634"/>
              <a:gd name="connsiteX23" fmla="*/ 2360247 w 7916334"/>
              <a:gd name="connsiteY23" fmla="*/ 1685634 h 1685634"/>
              <a:gd name="connsiteX24" fmla="*/ 1691661 w 7916334"/>
              <a:gd name="connsiteY24" fmla="*/ 1685634 h 1685634"/>
              <a:gd name="connsiteX25" fmla="*/ 1243709 w 7916334"/>
              <a:gd name="connsiteY25" fmla="*/ 1685634 h 1685634"/>
              <a:gd name="connsiteX26" fmla="*/ 280945 w 7916334"/>
              <a:gd name="connsiteY26" fmla="*/ 1685634 h 1685634"/>
              <a:gd name="connsiteX27" fmla="*/ 0 w 7916334"/>
              <a:gd name="connsiteY27" fmla="*/ 1404689 h 1685634"/>
              <a:gd name="connsiteX28" fmla="*/ 0 w 7916334"/>
              <a:gd name="connsiteY28" fmla="*/ 820342 h 1685634"/>
              <a:gd name="connsiteX29" fmla="*/ 0 w 7916334"/>
              <a:gd name="connsiteY29" fmla="*/ 280945 h 1685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916334" h="1685634" fill="none" extrusionOk="0">
                <a:moveTo>
                  <a:pt x="0" y="280945"/>
                </a:moveTo>
                <a:cubicBezTo>
                  <a:pt x="8686" y="112388"/>
                  <a:pt x="123905" y="12078"/>
                  <a:pt x="280945" y="0"/>
                </a:cubicBezTo>
                <a:cubicBezTo>
                  <a:pt x="526443" y="-6273"/>
                  <a:pt x="586624" y="-21946"/>
                  <a:pt x="875986" y="0"/>
                </a:cubicBezTo>
                <a:cubicBezTo>
                  <a:pt x="1165348" y="21946"/>
                  <a:pt x="1240520" y="-16083"/>
                  <a:pt x="1397483" y="0"/>
                </a:cubicBezTo>
                <a:cubicBezTo>
                  <a:pt x="1554446" y="16083"/>
                  <a:pt x="1817193" y="33048"/>
                  <a:pt x="2066069" y="0"/>
                </a:cubicBezTo>
                <a:cubicBezTo>
                  <a:pt x="2314945" y="-33048"/>
                  <a:pt x="2690987" y="-5942"/>
                  <a:pt x="2881744" y="0"/>
                </a:cubicBezTo>
                <a:cubicBezTo>
                  <a:pt x="3072501" y="5942"/>
                  <a:pt x="3263180" y="-13338"/>
                  <a:pt x="3623874" y="0"/>
                </a:cubicBezTo>
                <a:cubicBezTo>
                  <a:pt x="3984568" y="13338"/>
                  <a:pt x="4039823" y="9396"/>
                  <a:pt x="4292460" y="0"/>
                </a:cubicBezTo>
                <a:cubicBezTo>
                  <a:pt x="4545097" y="-9396"/>
                  <a:pt x="4725759" y="-25974"/>
                  <a:pt x="4887501" y="0"/>
                </a:cubicBezTo>
                <a:cubicBezTo>
                  <a:pt x="5049243" y="25974"/>
                  <a:pt x="5470497" y="-17084"/>
                  <a:pt x="5629632" y="0"/>
                </a:cubicBezTo>
                <a:cubicBezTo>
                  <a:pt x="5788767" y="17084"/>
                  <a:pt x="6018312" y="1864"/>
                  <a:pt x="6371762" y="0"/>
                </a:cubicBezTo>
                <a:cubicBezTo>
                  <a:pt x="6725212" y="-1864"/>
                  <a:pt x="7291115" y="45047"/>
                  <a:pt x="7635389" y="0"/>
                </a:cubicBezTo>
                <a:cubicBezTo>
                  <a:pt x="7771528" y="19448"/>
                  <a:pt x="7912878" y="94815"/>
                  <a:pt x="7916334" y="280945"/>
                </a:cubicBezTo>
                <a:cubicBezTo>
                  <a:pt x="7917585" y="520666"/>
                  <a:pt x="7898843" y="689552"/>
                  <a:pt x="7916334" y="820342"/>
                </a:cubicBezTo>
                <a:cubicBezTo>
                  <a:pt x="7933825" y="951132"/>
                  <a:pt x="7927545" y="1207443"/>
                  <a:pt x="7916334" y="1404689"/>
                </a:cubicBezTo>
                <a:cubicBezTo>
                  <a:pt x="7917131" y="1532366"/>
                  <a:pt x="7798011" y="1684424"/>
                  <a:pt x="7635389" y="1685634"/>
                </a:cubicBezTo>
                <a:cubicBezTo>
                  <a:pt x="7320177" y="1687384"/>
                  <a:pt x="7217246" y="1706661"/>
                  <a:pt x="6966803" y="1685634"/>
                </a:cubicBezTo>
                <a:cubicBezTo>
                  <a:pt x="6716360" y="1664607"/>
                  <a:pt x="6558210" y="1704627"/>
                  <a:pt x="6445306" y="1685634"/>
                </a:cubicBezTo>
                <a:cubicBezTo>
                  <a:pt x="6332402" y="1666641"/>
                  <a:pt x="5905520" y="1658854"/>
                  <a:pt x="5703176" y="1685634"/>
                </a:cubicBezTo>
                <a:cubicBezTo>
                  <a:pt x="5500832" y="1712415"/>
                  <a:pt x="5410441" y="1710631"/>
                  <a:pt x="5181679" y="1685634"/>
                </a:cubicBezTo>
                <a:cubicBezTo>
                  <a:pt x="4952917" y="1660637"/>
                  <a:pt x="4545398" y="1679211"/>
                  <a:pt x="4366004" y="1685634"/>
                </a:cubicBezTo>
                <a:cubicBezTo>
                  <a:pt x="4186611" y="1692057"/>
                  <a:pt x="3741508" y="1661439"/>
                  <a:pt x="3550330" y="1685634"/>
                </a:cubicBezTo>
                <a:cubicBezTo>
                  <a:pt x="3359152" y="1709829"/>
                  <a:pt x="3269414" y="1704460"/>
                  <a:pt x="3028833" y="1685634"/>
                </a:cubicBezTo>
                <a:cubicBezTo>
                  <a:pt x="2788252" y="1666808"/>
                  <a:pt x="2538203" y="1694599"/>
                  <a:pt x="2360247" y="1685634"/>
                </a:cubicBezTo>
                <a:cubicBezTo>
                  <a:pt x="2182291" y="1676669"/>
                  <a:pt x="1923377" y="1659041"/>
                  <a:pt x="1691661" y="1685634"/>
                </a:cubicBezTo>
                <a:cubicBezTo>
                  <a:pt x="1459945" y="1712227"/>
                  <a:pt x="1380054" y="1694010"/>
                  <a:pt x="1243709" y="1685634"/>
                </a:cubicBezTo>
                <a:cubicBezTo>
                  <a:pt x="1107364" y="1677258"/>
                  <a:pt x="529708" y="1668238"/>
                  <a:pt x="280945" y="1685634"/>
                </a:cubicBezTo>
                <a:cubicBezTo>
                  <a:pt x="133183" y="1711476"/>
                  <a:pt x="-7859" y="1568247"/>
                  <a:pt x="0" y="1404689"/>
                </a:cubicBezTo>
                <a:cubicBezTo>
                  <a:pt x="-13873" y="1226108"/>
                  <a:pt x="-553" y="1088649"/>
                  <a:pt x="0" y="820342"/>
                </a:cubicBezTo>
                <a:cubicBezTo>
                  <a:pt x="553" y="552035"/>
                  <a:pt x="-107" y="498928"/>
                  <a:pt x="0" y="280945"/>
                </a:cubicBezTo>
                <a:close/>
              </a:path>
              <a:path w="7916334" h="1685634" stroke="0" extrusionOk="0">
                <a:moveTo>
                  <a:pt x="0" y="280945"/>
                </a:moveTo>
                <a:cubicBezTo>
                  <a:pt x="-13003" y="139007"/>
                  <a:pt x="102217" y="7689"/>
                  <a:pt x="280945" y="0"/>
                </a:cubicBezTo>
                <a:cubicBezTo>
                  <a:pt x="424231" y="13003"/>
                  <a:pt x="606264" y="-18978"/>
                  <a:pt x="802442" y="0"/>
                </a:cubicBezTo>
                <a:cubicBezTo>
                  <a:pt x="998620" y="18978"/>
                  <a:pt x="1219701" y="11718"/>
                  <a:pt x="1397483" y="0"/>
                </a:cubicBezTo>
                <a:cubicBezTo>
                  <a:pt x="1575265" y="-11718"/>
                  <a:pt x="1715441" y="-17853"/>
                  <a:pt x="1845436" y="0"/>
                </a:cubicBezTo>
                <a:cubicBezTo>
                  <a:pt x="1975431" y="17853"/>
                  <a:pt x="2346732" y="-24439"/>
                  <a:pt x="2587566" y="0"/>
                </a:cubicBezTo>
                <a:cubicBezTo>
                  <a:pt x="2828400" y="24439"/>
                  <a:pt x="2986513" y="2689"/>
                  <a:pt x="3256152" y="0"/>
                </a:cubicBezTo>
                <a:cubicBezTo>
                  <a:pt x="3525791" y="-2689"/>
                  <a:pt x="3660342" y="-27038"/>
                  <a:pt x="3998282" y="0"/>
                </a:cubicBezTo>
                <a:cubicBezTo>
                  <a:pt x="4336222" y="27038"/>
                  <a:pt x="4463550" y="-13513"/>
                  <a:pt x="4813957" y="0"/>
                </a:cubicBezTo>
                <a:cubicBezTo>
                  <a:pt x="5164364" y="13513"/>
                  <a:pt x="5264492" y="10308"/>
                  <a:pt x="5482543" y="0"/>
                </a:cubicBezTo>
                <a:cubicBezTo>
                  <a:pt x="5700594" y="-10308"/>
                  <a:pt x="5876220" y="27483"/>
                  <a:pt x="6224673" y="0"/>
                </a:cubicBezTo>
                <a:cubicBezTo>
                  <a:pt x="6573126" y="-27483"/>
                  <a:pt x="6605784" y="702"/>
                  <a:pt x="6966803" y="0"/>
                </a:cubicBezTo>
                <a:cubicBezTo>
                  <a:pt x="7327822" y="-702"/>
                  <a:pt x="7420701" y="-20252"/>
                  <a:pt x="7635389" y="0"/>
                </a:cubicBezTo>
                <a:cubicBezTo>
                  <a:pt x="7810733" y="-7051"/>
                  <a:pt x="7920233" y="116248"/>
                  <a:pt x="7916334" y="280945"/>
                </a:cubicBezTo>
                <a:cubicBezTo>
                  <a:pt x="7899855" y="449367"/>
                  <a:pt x="7910690" y="595485"/>
                  <a:pt x="7916334" y="831580"/>
                </a:cubicBezTo>
                <a:cubicBezTo>
                  <a:pt x="7921978" y="1067675"/>
                  <a:pt x="7894503" y="1179226"/>
                  <a:pt x="7916334" y="1404689"/>
                </a:cubicBezTo>
                <a:cubicBezTo>
                  <a:pt x="7919227" y="1569254"/>
                  <a:pt x="7786898" y="1671161"/>
                  <a:pt x="7635389" y="1685634"/>
                </a:cubicBezTo>
                <a:cubicBezTo>
                  <a:pt x="7303704" y="1716693"/>
                  <a:pt x="7130494" y="1681264"/>
                  <a:pt x="6966803" y="1685634"/>
                </a:cubicBezTo>
                <a:cubicBezTo>
                  <a:pt x="6803112" y="1690004"/>
                  <a:pt x="6422209" y="1679518"/>
                  <a:pt x="6224673" y="1685634"/>
                </a:cubicBezTo>
                <a:cubicBezTo>
                  <a:pt x="6027137" y="1691751"/>
                  <a:pt x="5926754" y="1695106"/>
                  <a:pt x="5776720" y="1685634"/>
                </a:cubicBezTo>
                <a:cubicBezTo>
                  <a:pt x="5626686" y="1676162"/>
                  <a:pt x="5424174" y="1669907"/>
                  <a:pt x="5255223" y="1685634"/>
                </a:cubicBezTo>
                <a:cubicBezTo>
                  <a:pt x="5086272" y="1701361"/>
                  <a:pt x="4667209" y="1714754"/>
                  <a:pt x="4439549" y="1685634"/>
                </a:cubicBezTo>
                <a:cubicBezTo>
                  <a:pt x="4211889" y="1656514"/>
                  <a:pt x="4102094" y="1703913"/>
                  <a:pt x="3770963" y="1685634"/>
                </a:cubicBezTo>
                <a:cubicBezTo>
                  <a:pt x="3439832" y="1667355"/>
                  <a:pt x="3365912" y="1694124"/>
                  <a:pt x="3028833" y="1685634"/>
                </a:cubicBezTo>
                <a:cubicBezTo>
                  <a:pt x="2691754" y="1677145"/>
                  <a:pt x="2591610" y="1659600"/>
                  <a:pt x="2433791" y="1685634"/>
                </a:cubicBezTo>
                <a:cubicBezTo>
                  <a:pt x="2275972" y="1711668"/>
                  <a:pt x="1959429" y="1703281"/>
                  <a:pt x="1691661" y="1685634"/>
                </a:cubicBezTo>
                <a:cubicBezTo>
                  <a:pt x="1423893" y="1667988"/>
                  <a:pt x="1260851" y="1681770"/>
                  <a:pt x="1096620" y="1685634"/>
                </a:cubicBezTo>
                <a:cubicBezTo>
                  <a:pt x="932389" y="1689498"/>
                  <a:pt x="616784" y="1659176"/>
                  <a:pt x="280945" y="1685634"/>
                </a:cubicBezTo>
                <a:cubicBezTo>
                  <a:pt x="116665" y="1676301"/>
                  <a:pt x="-4228" y="1572424"/>
                  <a:pt x="0" y="1404689"/>
                </a:cubicBezTo>
                <a:cubicBezTo>
                  <a:pt x="-19867" y="1281009"/>
                  <a:pt x="-21464" y="1058349"/>
                  <a:pt x="0" y="876529"/>
                </a:cubicBezTo>
                <a:cubicBezTo>
                  <a:pt x="21464" y="694709"/>
                  <a:pt x="-17976" y="403049"/>
                  <a:pt x="0" y="280945"/>
                </a:cubicBezTo>
                <a:close/>
              </a:path>
            </a:pathLst>
          </a:custGeom>
          <a:solidFill>
            <a:schemeClr val="accent4">
              <a:lumMod val="20000"/>
              <a:lumOff val="80000"/>
            </a:schemeClr>
          </a:solidFill>
          <a:ln w="9525">
            <a:solidFill>
              <a:schemeClr val="bg1">
                <a:lumMod val="95000"/>
              </a:schemeClr>
            </a:solidFill>
            <a:extLst>
              <a:ext uri="{C807C97D-BFC1-408E-A445-0C87EB9F89A2}">
                <ask:lineSketchStyleProps xmlns:ask="http://schemas.microsoft.com/office/drawing/2018/sketchyshapes" sd="3403945204">
                  <a:prstGeom prst="round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085850" lvl="2" indent="-171450">
              <a:buFont typeface="Arial" panose="020B0604020202020204" pitchFamily="34" charset="0"/>
              <a:buChar char="•"/>
            </a:pPr>
            <a:r>
              <a:rPr lang="es-CO" sz="1600" dirty="0">
                <a:solidFill>
                  <a:schemeClr val="tx1"/>
                </a:solidFill>
                <a:latin typeface="Arial" panose="020B0604020202020204" pitchFamily="34" charset="0"/>
                <a:cs typeface="Arial" panose="020B0604020202020204" pitchFamily="34" charset="0"/>
              </a:rPr>
              <a:t>Les recomendamos escoger cualquier herramienta con la que se sientan cómodas.</a:t>
            </a:r>
          </a:p>
          <a:p>
            <a:pPr marL="1085850" lvl="2" indent="-171450">
              <a:buFont typeface="Arial" panose="020B0604020202020204" pitchFamily="34" charset="0"/>
              <a:buChar char="•"/>
            </a:pPr>
            <a:r>
              <a:rPr lang="es-CO" sz="1600" dirty="0">
                <a:solidFill>
                  <a:schemeClr val="tx1"/>
                </a:solidFill>
                <a:latin typeface="Arial" panose="020B0604020202020204" pitchFamily="34" charset="0"/>
                <a:cs typeface="Arial" panose="020B0604020202020204" pitchFamily="34" charset="0"/>
              </a:rPr>
              <a:t>No pierdan mucho tiempo aprendiendo a usar herramientas muy complejas. </a:t>
            </a:r>
          </a:p>
          <a:p>
            <a:pPr marL="1085850" lvl="2" indent="-171450">
              <a:buFont typeface="Arial" panose="020B0604020202020204" pitchFamily="34" charset="0"/>
              <a:buChar char="•"/>
            </a:pPr>
            <a:r>
              <a:rPr lang="es-CO" sz="1600" dirty="0">
                <a:solidFill>
                  <a:schemeClr val="tx1"/>
                </a:solidFill>
                <a:latin typeface="Arial" panose="020B0604020202020204" pitchFamily="34" charset="0"/>
                <a:cs typeface="Arial" panose="020B0604020202020204" pitchFamily="34" charset="0"/>
              </a:rPr>
              <a:t>Antes de empezar, consulten las restricciones de cada herramienta (algunas podrían requerir pagos para ciertas funcionalidades)</a:t>
            </a:r>
          </a:p>
        </p:txBody>
      </p:sp>
      <p:pic>
        <p:nvPicPr>
          <p:cNvPr id="4" name="Graphic 3" descr="Lights On with solid fill">
            <a:extLst>
              <a:ext uri="{FF2B5EF4-FFF2-40B4-BE49-F238E27FC236}">
                <a16:creationId xmlns:a16="http://schemas.microsoft.com/office/drawing/2014/main" id="{FE185935-83F9-42E2-BE95-6DF020A0FF0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462867" y="4929980"/>
            <a:ext cx="914400" cy="914400"/>
          </a:xfrm>
          <a:prstGeom prst="rect">
            <a:avLst/>
          </a:prstGeom>
        </p:spPr>
      </p:pic>
    </p:spTree>
    <p:extLst>
      <p:ext uri="{BB962C8B-B14F-4D97-AF65-F5344CB8AC3E}">
        <p14:creationId xmlns:p14="http://schemas.microsoft.com/office/powerpoint/2010/main" val="231881463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CD3B507D-B343-498F-97D5-78CBF4589AAB}"/>
              </a:ext>
            </a:extLst>
          </p:cNvPr>
          <p:cNvSpPr txBox="1"/>
          <p:nvPr/>
        </p:nvSpPr>
        <p:spPr>
          <a:xfrm>
            <a:off x="633680" y="179261"/>
            <a:ext cx="9915608" cy="461665"/>
          </a:xfrm>
          <a:prstGeom prst="rect">
            <a:avLst/>
          </a:prstGeom>
          <a:noFill/>
        </p:spPr>
        <p:txBody>
          <a:bodyPr wrap="square">
            <a:spAutoFit/>
          </a:bodyPr>
          <a:lstStyle/>
          <a:p>
            <a:r>
              <a:rPr lang="es-CO" sz="2400" b="1" dirty="0">
                <a:solidFill>
                  <a:schemeClr val="bg1"/>
                </a:solidFill>
                <a:latin typeface="Arial" panose="020B0604020202020204" pitchFamily="34" charset="0"/>
                <a:cs typeface="Arial" panose="020B0604020202020204" pitchFamily="34" charset="0"/>
              </a:rPr>
              <a:t>PLANTILLA PERSONA</a:t>
            </a:r>
          </a:p>
        </p:txBody>
      </p:sp>
      <p:sp>
        <p:nvSpPr>
          <p:cNvPr id="29" name="Rectangle 28">
            <a:extLst>
              <a:ext uri="{FF2B5EF4-FFF2-40B4-BE49-F238E27FC236}">
                <a16:creationId xmlns:a16="http://schemas.microsoft.com/office/drawing/2014/main" id="{AC912CE1-71EF-4250-8EA0-0DDA67063F18}"/>
              </a:ext>
            </a:extLst>
          </p:cNvPr>
          <p:cNvSpPr/>
          <p:nvPr/>
        </p:nvSpPr>
        <p:spPr>
          <a:xfrm>
            <a:off x="421334" y="4128043"/>
            <a:ext cx="2584334" cy="2550696"/>
          </a:xfrm>
          <a:prstGeom prst="rect">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s-CO" sz="1200" b="1" dirty="0">
                <a:solidFill>
                  <a:schemeClr val="bg1"/>
                </a:solidFill>
                <a:latin typeface="Arial" panose="020B0604020202020204" pitchFamily="34" charset="0"/>
                <a:cs typeface="Arial" panose="020B0604020202020204" pitchFamily="34" charset="0"/>
              </a:rPr>
              <a:t>Datos demográficos </a:t>
            </a:r>
          </a:p>
          <a:p>
            <a:pPr algn="ctr"/>
            <a:endParaRPr lang="es-CO" sz="1200" dirty="0">
              <a:solidFill>
                <a:schemeClr val="bg1"/>
              </a:solidFill>
              <a:latin typeface="Arial" panose="020B0604020202020204" pitchFamily="34" charset="0"/>
              <a:cs typeface="Arial" panose="020B0604020202020204" pitchFamily="34" charset="0"/>
            </a:endParaRPr>
          </a:p>
          <a:p>
            <a:pPr algn="ctr"/>
            <a:endParaRPr lang="es-CO" sz="1200" dirty="0">
              <a:solidFill>
                <a:schemeClr val="bg1"/>
              </a:solidFill>
              <a:latin typeface="Arial" panose="020B0604020202020204" pitchFamily="34" charset="0"/>
              <a:cs typeface="Arial" panose="020B0604020202020204" pitchFamily="34" charset="0"/>
            </a:endParaRPr>
          </a:p>
        </p:txBody>
      </p:sp>
      <p:sp>
        <p:nvSpPr>
          <p:cNvPr id="56" name="Rectangle 55">
            <a:extLst>
              <a:ext uri="{FF2B5EF4-FFF2-40B4-BE49-F238E27FC236}">
                <a16:creationId xmlns:a16="http://schemas.microsoft.com/office/drawing/2014/main" id="{B46C1083-1642-4043-8CB4-E3CEDA2CFB1E}"/>
              </a:ext>
            </a:extLst>
          </p:cNvPr>
          <p:cNvSpPr/>
          <p:nvPr/>
        </p:nvSpPr>
        <p:spPr>
          <a:xfrm>
            <a:off x="335795" y="3544067"/>
            <a:ext cx="3031958" cy="35515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s-CO" sz="1400" b="1" dirty="0">
                <a:solidFill>
                  <a:schemeClr val="bg1"/>
                </a:solidFill>
                <a:latin typeface="Arial" panose="020B0604020202020204" pitchFamily="34" charset="0"/>
                <a:cs typeface="Arial" panose="020B0604020202020204" pitchFamily="34" charset="0"/>
              </a:rPr>
              <a:t>“Frase característica”</a:t>
            </a:r>
            <a:endParaRPr lang="es-CO" sz="1400" dirty="0">
              <a:solidFill>
                <a:schemeClr val="bg1"/>
              </a:solidFill>
              <a:latin typeface="Arial" panose="020B0604020202020204" pitchFamily="34" charset="0"/>
              <a:cs typeface="Arial" panose="020B0604020202020204" pitchFamily="34" charset="0"/>
            </a:endParaRPr>
          </a:p>
          <a:p>
            <a:pPr algn="ctr"/>
            <a:endParaRPr lang="es-CO" sz="1400" dirty="0">
              <a:solidFill>
                <a:schemeClr val="bg1"/>
              </a:solidFill>
              <a:latin typeface="Arial" panose="020B0604020202020204" pitchFamily="34" charset="0"/>
              <a:cs typeface="Arial" panose="020B0604020202020204" pitchFamily="34" charset="0"/>
            </a:endParaRPr>
          </a:p>
          <a:p>
            <a:pPr algn="ctr"/>
            <a:endParaRPr lang="es-CO" sz="1400" dirty="0">
              <a:solidFill>
                <a:schemeClr val="bg1"/>
              </a:solidFill>
              <a:latin typeface="Arial" panose="020B0604020202020204" pitchFamily="34" charset="0"/>
              <a:cs typeface="Arial" panose="020B0604020202020204" pitchFamily="34" charset="0"/>
            </a:endParaRPr>
          </a:p>
        </p:txBody>
      </p:sp>
      <p:sp>
        <p:nvSpPr>
          <p:cNvPr id="64" name="Rectangle 63">
            <a:extLst>
              <a:ext uri="{FF2B5EF4-FFF2-40B4-BE49-F238E27FC236}">
                <a16:creationId xmlns:a16="http://schemas.microsoft.com/office/drawing/2014/main" id="{E2A1B381-8D93-4A35-BB90-6547B7AF5416}"/>
              </a:ext>
            </a:extLst>
          </p:cNvPr>
          <p:cNvSpPr/>
          <p:nvPr/>
        </p:nvSpPr>
        <p:spPr>
          <a:xfrm>
            <a:off x="3701944" y="833049"/>
            <a:ext cx="3833033" cy="35515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es-CO" b="1" dirty="0">
                <a:solidFill>
                  <a:schemeClr val="bg1"/>
                </a:solidFill>
                <a:latin typeface="Arial" panose="020B0604020202020204" pitchFamily="34" charset="0"/>
                <a:cs typeface="Arial" panose="020B0604020202020204" pitchFamily="34" charset="0"/>
              </a:rPr>
              <a:t>Nombre</a:t>
            </a:r>
            <a:endParaRPr lang="es-CO" dirty="0">
              <a:solidFill>
                <a:schemeClr val="bg1"/>
              </a:solidFill>
              <a:latin typeface="Arial" panose="020B0604020202020204" pitchFamily="34" charset="0"/>
              <a:cs typeface="Arial" panose="020B0604020202020204" pitchFamily="34" charset="0"/>
            </a:endParaRPr>
          </a:p>
        </p:txBody>
      </p:sp>
      <p:sp>
        <p:nvSpPr>
          <p:cNvPr id="65" name="Rectangle 64">
            <a:extLst>
              <a:ext uri="{FF2B5EF4-FFF2-40B4-BE49-F238E27FC236}">
                <a16:creationId xmlns:a16="http://schemas.microsoft.com/office/drawing/2014/main" id="{2D059A3F-9F75-4168-8707-F65A92010CB3}"/>
              </a:ext>
            </a:extLst>
          </p:cNvPr>
          <p:cNvSpPr/>
          <p:nvPr/>
        </p:nvSpPr>
        <p:spPr>
          <a:xfrm>
            <a:off x="3701944" y="1380325"/>
            <a:ext cx="7856376" cy="887929"/>
          </a:xfrm>
          <a:prstGeom prst="rect">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es-CO" sz="1600" b="1" dirty="0" err="1">
                <a:solidFill>
                  <a:schemeClr val="bg1"/>
                </a:solidFill>
                <a:latin typeface="Arial" panose="020B0604020202020204" pitchFamily="34" charset="0"/>
                <a:cs typeface="Arial" panose="020B0604020202020204" pitchFamily="34" charset="0"/>
              </a:rPr>
              <a:t>Background</a:t>
            </a:r>
            <a:endParaRPr lang="es-CO" sz="1600" b="1" dirty="0">
              <a:solidFill>
                <a:schemeClr val="bg1"/>
              </a:solidFill>
              <a:latin typeface="Arial" panose="020B0604020202020204" pitchFamily="34" charset="0"/>
              <a:cs typeface="Arial" panose="020B0604020202020204" pitchFamily="34" charset="0"/>
            </a:endParaRPr>
          </a:p>
          <a:p>
            <a:endParaRPr lang="es-CO" sz="1600" b="1" dirty="0">
              <a:solidFill>
                <a:schemeClr val="bg1"/>
              </a:solidFill>
              <a:latin typeface="Arial" panose="020B0604020202020204" pitchFamily="34" charset="0"/>
              <a:cs typeface="Arial" panose="020B0604020202020204" pitchFamily="34" charset="0"/>
            </a:endParaRPr>
          </a:p>
        </p:txBody>
      </p:sp>
      <p:sp>
        <p:nvSpPr>
          <p:cNvPr id="66" name="Rectangle 65">
            <a:extLst>
              <a:ext uri="{FF2B5EF4-FFF2-40B4-BE49-F238E27FC236}">
                <a16:creationId xmlns:a16="http://schemas.microsoft.com/office/drawing/2014/main" id="{3DD6027A-F97B-4C13-8192-41677BFDC63C}"/>
              </a:ext>
            </a:extLst>
          </p:cNvPr>
          <p:cNvSpPr/>
          <p:nvPr/>
        </p:nvSpPr>
        <p:spPr>
          <a:xfrm>
            <a:off x="3701944" y="2541069"/>
            <a:ext cx="7856376" cy="1030662"/>
          </a:xfrm>
          <a:prstGeom prst="rect">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es-CO" sz="1600" b="1" dirty="0">
                <a:solidFill>
                  <a:schemeClr val="bg1"/>
                </a:solidFill>
                <a:latin typeface="Arial" panose="020B0604020202020204" pitchFamily="34" charset="0"/>
                <a:cs typeface="Arial" panose="020B0604020202020204" pitchFamily="34" charset="0"/>
              </a:rPr>
              <a:t>Metas</a:t>
            </a:r>
          </a:p>
          <a:p>
            <a:endParaRPr lang="es-CO" sz="1600" b="1" dirty="0">
              <a:solidFill>
                <a:schemeClr val="bg1"/>
              </a:solidFill>
              <a:latin typeface="Arial" panose="020B0604020202020204" pitchFamily="34" charset="0"/>
              <a:cs typeface="Arial" panose="020B0604020202020204" pitchFamily="34" charset="0"/>
            </a:endParaRPr>
          </a:p>
        </p:txBody>
      </p:sp>
      <p:sp>
        <p:nvSpPr>
          <p:cNvPr id="67" name="Rectangle 66">
            <a:extLst>
              <a:ext uri="{FF2B5EF4-FFF2-40B4-BE49-F238E27FC236}">
                <a16:creationId xmlns:a16="http://schemas.microsoft.com/office/drawing/2014/main" id="{E1A64BB7-1DB4-41FC-9EB1-B443634F2116}"/>
              </a:ext>
            </a:extLst>
          </p:cNvPr>
          <p:cNvSpPr/>
          <p:nvPr/>
        </p:nvSpPr>
        <p:spPr>
          <a:xfrm>
            <a:off x="3701944" y="3781995"/>
            <a:ext cx="7856376" cy="1417137"/>
          </a:xfrm>
          <a:prstGeom prst="rect">
            <a:avLst/>
          </a:prstGeom>
          <a:solidFill>
            <a:srgbClr val="D4BFF8">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es-CO" sz="1600" b="1" dirty="0">
                <a:solidFill>
                  <a:schemeClr val="bg1"/>
                </a:solidFill>
                <a:latin typeface="Arial" panose="020B0604020202020204" pitchFamily="34" charset="0"/>
                <a:cs typeface="Arial" panose="020B0604020202020204" pitchFamily="34" charset="0"/>
              </a:rPr>
              <a:t>Motivaciones</a:t>
            </a:r>
          </a:p>
          <a:p>
            <a:endParaRPr lang="es-CO" sz="1600" b="1" dirty="0">
              <a:solidFill>
                <a:sysClr val="windowText" lastClr="000000"/>
              </a:solidFill>
              <a:latin typeface="Arial" panose="020B0604020202020204" pitchFamily="34" charset="0"/>
              <a:cs typeface="Arial" panose="020B0604020202020204" pitchFamily="34" charset="0"/>
            </a:endParaRPr>
          </a:p>
        </p:txBody>
      </p:sp>
      <p:sp>
        <p:nvSpPr>
          <p:cNvPr id="68" name="Rectangle 67">
            <a:extLst>
              <a:ext uri="{FF2B5EF4-FFF2-40B4-BE49-F238E27FC236}">
                <a16:creationId xmlns:a16="http://schemas.microsoft.com/office/drawing/2014/main" id="{6BDF7D48-EAED-4B84-A1DC-098864858910}"/>
              </a:ext>
            </a:extLst>
          </p:cNvPr>
          <p:cNvSpPr/>
          <p:nvPr/>
        </p:nvSpPr>
        <p:spPr>
          <a:xfrm>
            <a:off x="3701944" y="5409397"/>
            <a:ext cx="7856376" cy="1269341"/>
          </a:xfrm>
          <a:prstGeom prst="rect">
            <a:avLst/>
          </a:prstGeom>
          <a:solidFill>
            <a:srgbClr val="EA3A55">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es-CO" sz="1600" b="1" dirty="0">
                <a:solidFill>
                  <a:schemeClr val="bg1"/>
                </a:solidFill>
                <a:latin typeface="Arial" panose="020B0604020202020204" pitchFamily="34" charset="0"/>
                <a:cs typeface="Arial" panose="020B0604020202020204" pitchFamily="34" charset="0"/>
              </a:rPr>
              <a:t>Frustraciones</a:t>
            </a:r>
          </a:p>
          <a:p>
            <a:endParaRPr lang="es-CO" sz="1600" b="1" dirty="0">
              <a:solidFill>
                <a:schemeClr val="bg1"/>
              </a:solidFill>
              <a:latin typeface="Arial" panose="020B0604020202020204" pitchFamily="34" charset="0"/>
              <a:cs typeface="Arial" panose="020B0604020202020204" pitchFamily="34" charset="0"/>
            </a:endParaRPr>
          </a:p>
          <a:p>
            <a:endParaRPr lang="es-CO" sz="1600" b="1" dirty="0">
              <a:solidFill>
                <a:schemeClr val="bg1"/>
              </a:solidFill>
              <a:latin typeface="Arial" panose="020B0604020202020204" pitchFamily="34" charset="0"/>
              <a:cs typeface="Arial" panose="020B0604020202020204" pitchFamily="34" charset="0"/>
            </a:endParaRPr>
          </a:p>
        </p:txBody>
      </p:sp>
      <p:cxnSp>
        <p:nvCxnSpPr>
          <p:cNvPr id="33" name="Straight Connector 32">
            <a:extLst>
              <a:ext uri="{FF2B5EF4-FFF2-40B4-BE49-F238E27FC236}">
                <a16:creationId xmlns:a16="http://schemas.microsoft.com/office/drawing/2014/main" id="{8CDC28B1-3ACD-412A-9181-EE82D994C5FB}"/>
              </a:ext>
            </a:extLst>
          </p:cNvPr>
          <p:cNvCxnSpPr/>
          <p:nvPr/>
        </p:nvCxnSpPr>
        <p:spPr>
          <a:xfrm>
            <a:off x="965200" y="4783568"/>
            <a:ext cx="1066800" cy="0"/>
          </a:xfrm>
          <a:prstGeom prst="line">
            <a:avLst/>
          </a:prstGeom>
          <a:ln w="9525">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C78D7933-7CBF-4273-A322-845C29D2A6D3}"/>
              </a:ext>
            </a:extLst>
          </p:cNvPr>
          <p:cNvCxnSpPr/>
          <p:nvPr/>
        </p:nvCxnSpPr>
        <p:spPr>
          <a:xfrm>
            <a:off x="965200" y="5147707"/>
            <a:ext cx="1066800" cy="0"/>
          </a:xfrm>
          <a:prstGeom prst="line">
            <a:avLst/>
          </a:prstGeom>
          <a:ln w="9525">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8C353DFB-E651-4E60-B98C-190D9832BC88}"/>
              </a:ext>
            </a:extLst>
          </p:cNvPr>
          <p:cNvCxnSpPr/>
          <p:nvPr/>
        </p:nvCxnSpPr>
        <p:spPr>
          <a:xfrm>
            <a:off x="965200" y="5520168"/>
            <a:ext cx="1066800" cy="0"/>
          </a:xfrm>
          <a:prstGeom prst="line">
            <a:avLst/>
          </a:prstGeom>
          <a:ln w="9525">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82D773D-340D-412D-AA74-4877CA5C1764}"/>
              </a:ext>
            </a:extLst>
          </p:cNvPr>
          <p:cNvCxnSpPr/>
          <p:nvPr/>
        </p:nvCxnSpPr>
        <p:spPr>
          <a:xfrm>
            <a:off x="965200" y="5926568"/>
            <a:ext cx="1066800" cy="0"/>
          </a:xfrm>
          <a:prstGeom prst="line">
            <a:avLst/>
          </a:prstGeom>
          <a:ln w="9525">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520948AB-A8D3-4981-9806-5E6F483F06BE}"/>
              </a:ext>
            </a:extLst>
          </p:cNvPr>
          <p:cNvCxnSpPr/>
          <p:nvPr/>
        </p:nvCxnSpPr>
        <p:spPr>
          <a:xfrm>
            <a:off x="965200" y="6256768"/>
            <a:ext cx="1066800" cy="0"/>
          </a:xfrm>
          <a:prstGeom prst="line">
            <a:avLst/>
          </a:prstGeom>
          <a:ln w="9525">
            <a:solidFill>
              <a:schemeClr val="bg1"/>
            </a:solidFill>
            <a:tailEnd type="none"/>
          </a:ln>
        </p:spPr>
        <p:style>
          <a:lnRef idx="1">
            <a:schemeClr val="accent1"/>
          </a:lnRef>
          <a:fillRef idx="0">
            <a:schemeClr val="accent1"/>
          </a:fillRef>
          <a:effectRef idx="0">
            <a:schemeClr val="accent1"/>
          </a:effectRef>
          <a:fontRef idx="minor">
            <a:schemeClr val="tx1"/>
          </a:fontRef>
        </p:style>
      </p:cxnSp>
      <p:sp>
        <p:nvSpPr>
          <p:cNvPr id="2" name="Oval 1">
            <a:extLst>
              <a:ext uri="{FF2B5EF4-FFF2-40B4-BE49-F238E27FC236}">
                <a16:creationId xmlns:a16="http://schemas.microsoft.com/office/drawing/2014/main" id="{3F6BB03A-9D90-4B2D-A0B2-C265AB00B4C1}"/>
              </a:ext>
            </a:extLst>
          </p:cNvPr>
          <p:cNvSpPr/>
          <p:nvPr/>
        </p:nvSpPr>
        <p:spPr>
          <a:xfrm>
            <a:off x="699617" y="1013386"/>
            <a:ext cx="2143387" cy="2151946"/>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s-CO" sz="2000" b="1" dirty="0">
                <a:solidFill>
                  <a:schemeClr val="tx1"/>
                </a:solidFill>
                <a:latin typeface="Arial" panose="020B0604020202020204" pitchFamily="34" charset="0"/>
                <a:cs typeface="Arial" panose="020B0604020202020204" pitchFamily="34" charset="0"/>
              </a:rPr>
              <a:t>FOTO</a:t>
            </a:r>
          </a:p>
        </p:txBody>
      </p:sp>
      <p:sp>
        <p:nvSpPr>
          <p:cNvPr id="18" name="Arrow: Right 17">
            <a:extLst>
              <a:ext uri="{FF2B5EF4-FFF2-40B4-BE49-F238E27FC236}">
                <a16:creationId xmlns:a16="http://schemas.microsoft.com/office/drawing/2014/main" id="{4C4406A5-C00B-4FD4-B900-3DF7405E4240}"/>
              </a:ext>
            </a:extLst>
          </p:cNvPr>
          <p:cNvSpPr/>
          <p:nvPr/>
        </p:nvSpPr>
        <p:spPr>
          <a:xfrm>
            <a:off x="3282215" y="908435"/>
            <a:ext cx="366434" cy="222451"/>
          </a:xfrm>
          <a:prstGeom prst="rightArrow">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s-CO" sz="1200" dirty="0">
              <a:solidFill>
                <a:schemeClr val="tx1"/>
              </a:solidFill>
            </a:endParaRPr>
          </a:p>
        </p:txBody>
      </p:sp>
      <p:sp>
        <p:nvSpPr>
          <p:cNvPr id="19" name="Arrow: Right 18">
            <a:extLst>
              <a:ext uri="{FF2B5EF4-FFF2-40B4-BE49-F238E27FC236}">
                <a16:creationId xmlns:a16="http://schemas.microsoft.com/office/drawing/2014/main" id="{0ADDEE75-6ABC-4665-BA8C-6E9C49F01F2A}"/>
              </a:ext>
            </a:extLst>
          </p:cNvPr>
          <p:cNvSpPr/>
          <p:nvPr/>
        </p:nvSpPr>
        <p:spPr>
          <a:xfrm>
            <a:off x="3282215" y="1398395"/>
            <a:ext cx="366434" cy="222451"/>
          </a:xfrm>
          <a:prstGeom prst="rightArrow">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s-CO" sz="1200" dirty="0">
              <a:solidFill>
                <a:schemeClr val="tx1"/>
              </a:solidFill>
            </a:endParaRPr>
          </a:p>
        </p:txBody>
      </p:sp>
      <p:sp>
        <p:nvSpPr>
          <p:cNvPr id="20" name="Arrow: Right 19">
            <a:extLst>
              <a:ext uri="{FF2B5EF4-FFF2-40B4-BE49-F238E27FC236}">
                <a16:creationId xmlns:a16="http://schemas.microsoft.com/office/drawing/2014/main" id="{D780F2E8-6370-46C5-8F64-DACAF21B65BB}"/>
              </a:ext>
            </a:extLst>
          </p:cNvPr>
          <p:cNvSpPr/>
          <p:nvPr/>
        </p:nvSpPr>
        <p:spPr>
          <a:xfrm>
            <a:off x="3282215" y="2577458"/>
            <a:ext cx="366434" cy="222451"/>
          </a:xfrm>
          <a:prstGeom prst="rightArrow">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s-CO" sz="1200" dirty="0">
              <a:solidFill>
                <a:schemeClr val="tx1"/>
              </a:solidFill>
            </a:endParaRPr>
          </a:p>
        </p:txBody>
      </p:sp>
      <p:sp>
        <p:nvSpPr>
          <p:cNvPr id="21" name="Arrow: Right 20">
            <a:extLst>
              <a:ext uri="{FF2B5EF4-FFF2-40B4-BE49-F238E27FC236}">
                <a16:creationId xmlns:a16="http://schemas.microsoft.com/office/drawing/2014/main" id="{F145CD1F-2C2C-44B5-AD05-046A21800F11}"/>
              </a:ext>
            </a:extLst>
          </p:cNvPr>
          <p:cNvSpPr/>
          <p:nvPr/>
        </p:nvSpPr>
        <p:spPr>
          <a:xfrm>
            <a:off x="3282215" y="3787995"/>
            <a:ext cx="366434" cy="222451"/>
          </a:xfrm>
          <a:prstGeom prst="rightArrow">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s-CO" sz="1200" dirty="0">
              <a:solidFill>
                <a:schemeClr val="tx1"/>
              </a:solidFill>
            </a:endParaRPr>
          </a:p>
        </p:txBody>
      </p:sp>
      <p:sp>
        <p:nvSpPr>
          <p:cNvPr id="22" name="Arrow: Right 21">
            <a:extLst>
              <a:ext uri="{FF2B5EF4-FFF2-40B4-BE49-F238E27FC236}">
                <a16:creationId xmlns:a16="http://schemas.microsoft.com/office/drawing/2014/main" id="{6F400DA5-9A01-4253-B563-3CC5E567F206}"/>
              </a:ext>
            </a:extLst>
          </p:cNvPr>
          <p:cNvSpPr/>
          <p:nvPr/>
        </p:nvSpPr>
        <p:spPr>
          <a:xfrm>
            <a:off x="3282215" y="5459605"/>
            <a:ext cx="366434" cy="222451"/>
          </a:xfrm>
          <a:prstGeom prst="rightArrow">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s-CO" sz="1200" dirty="0">
                <a:solidFill>
                  <a:schemeClr val="tx1"/>
                </a:solidFill>
              </a:rPr>
              <a:t>v</a:t>
            </a:r>
          </a:p>
        </p:txBody>
      </p:sp>
      <p:sp>
        <p:nvSpPr>
          <p:cNvPr id="23" name="Arrow: Right 22">
            <a:extLst>
              <a:ext uri="{FF2B5EF4-FFF2-40B4-BE49-F238E27FC236}">
                <a16:creationId xmlns:a16="http://schemas.microsoft.com/office/drawing/2014/main" id="{01F1AC42-BC30-4C91-8933-CB5CABA305E7}"/>
              </a:ext>
            </a:extLst>
          </p:cNvPr>
          <p:cNvSpPr/>
          <p:nvPr/>
        </p:nvSpPr>
        <p:spPr>
          <a:xfrm>
            <a:off x="516400" y="4166730"/>
            <a:ext cx="366434" cy="222451"/>
          </a:xfrm>
          <a:prstGeom prst="rightArrow">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s-CO" sz="1200" dirty="0">
                <a:solidFill>
                  <a:schemeClr val="tx1"/>
                </a:solidFill>
              </a:rPr>
              <a:t>v</a:t>
            </a:r>
          </a:p>
        </p:txBody>
      </p:sp>
      <p:sp>
        <p:nvSpPr>
          <p:cNvPr id="24" name="Arrow: Right 23">
            <a:extLst>
              <a:ext uri="{FF2B5EF4-FFF2-40B4-BE49-F238E27FC236}">
                <a16:creationId xmlns:a16="http://schemas.microsoft.com/office/drawing/2014/main" id="{6D6F1EE0-E6F0-49E7-9071-7A6CA4538982}"/>
              </a:ext>
            </a:extLst>
          </p:cNvPr>
          <p:cNvSpPr/>
          <p:nvPr/>
        </p:nvSpPr>
        <p:spPr>
          <a:xfrm>
            <a:off x="312696" y="1076977"/>
            <a:ext cx="366434" cy="222451"/>
          </a:xfrm>
          <a:prstGeom prst="rightArrow">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s-CO" sz="1200" dirty="0">
                <a:solidFill>
                  <a:schemeClr val="tx1"/>
                </a:solidFill>
              </a:rPr>
              <a:t>v</a:t>
            </a:r>
          </a:p>
        </p:txBody>
      </p:sp>
      <p:graphicFrame>
        <p:nvGraphicFramePr>
          <p:cNvPr id="3" name="Table 4">
            <a:extLst>
              <a:ext uri="{FF2B5EF4-FFF2-40B4-BE49-F238E27FC236}">
                <a16:creationId xmlns:a16="http://schemas.microsoft.com/office/drawing/2014/main" id="{A3094207-4D4A-47E7-B0D1-41F594FAD789}"/>
              </a:ext>
            </a:extLst>
          </p:cNvPr>
          <p:cNvGraphicFramePr>
            <a:graphicFrameLocks noGrp="1"/>
          </p:cNvGraphicFramePr>
          <p:nvPr>
            <p:extLst>
              <p:ext uri="{D42A27DB-BD31-4B8C-83A1-F6EECF244321}">
                <p14:modId xmlns:p14="http://schemas.microsoft.com/office/powerpoint/2010/main" val="3321298051"/>
              </p:ext>
            </p:extLst>
          </p:nvPr>
        </p:nvGraphicFramePr>
        <p:xfrm>
          <a:off x="5508634" y="268946"/>
          <a:ext cx="3378201" cy="741680"/>
        </p:xfrm>
        <a:graphic>
          <a:graphicData uri="http://schemas.openxmlformats.org/drawingml/2006/table">
            <a:tbl>
              <a:tblPr firstRow="1" bandRow="1">
                <a:tableStyleId>{00A15C55-8517-42AA-B614-E9B94910E393}</a:tableStyleId>
              </a:tblPr>
              <a:tblGrid>
                <a:gridCol w="357483">
                  <a:extLst>
                    <a:ext uri="{9D8B030D-6E8A-4147-A177-3AD203B41FA5}">
                      <a16:colId xmlns:a16="http://schemas.microsoft.com/office/drawing/2014/main" val="3992231431"/>
                    </a:ext>
                  </a:extLst>
                </a:gridCol>
                <a:gridCol w="3020718">
                  <a:extLst>
                    <a:ext uri="{9D8B030D-6E8A-4147-A177-3AD203B41FA5}">
                      <a16:colId xmlns:a16="http://schemas.microsoft.com/office/drawing/2014/main" val="1743168737"/>
                    </a:ext>
                  </a:extLst>
                </a:gridCol>
              </a:tblGrid>
              <a:tr h="370840">
                <a:tc>
                  <a:txBody>
                    <a:bodyPr/>
                    <a:lstStyle/>
                    <a:p>
                      <a:endParaRPr lang="es-CO" sz="1600">
                        <a:latin typeface="Arial" panose="020B0604020202020204" pitchFamily="34" charset="0"/>
                        <a:cs typeface="Arial" panose="020B0604020202020204" pitchFamily="34" charset="0"/>
                      </a:endParaRPr>
                    </a:p>
                  </a:txBody>
                  <a:tcPr/>
                </a:tc>
                <a:tc>
                  <a:txBody>
                    <a:bodyPr/>
                    <a:lstStyle/>
                    <a:p>
                      <a:r>
                        <a:rPr lang="es-CO" sz="1600" dirty="0">
                          <a:latin typeface="Arial" panose="020B0604020202020204" pitchFamily="34" charset="0"/>
                          <a:cs typeface="Arial" panose="020B0604020202020204" pitchFamily="34" charset="0"/>
                        </a:rPr>
                        <a:t>Segmento de cliente actual</a:t>
                      </a:r>
                    </a:p>
                  </a:txBody>
                  <a:tcPr/>
                </a:tc>
                <a:extLst>
                  <a:ext uri="{0D108BD9-81ED-4DB2-BD59-A6C34878D82A}">
                    <a16:rowId xmlns:a16="http://schemas.microsoft.com/office/drawing/2014/main" val="1703139378"/>
                  </a:ext>
                </a:extLst>
              </a:tr>
              <a:tr h="370840">
                <a:tc>
                  <a:txBody>
                    <a:bodyPr/>
                    <a:lstStyle/>
                    <a:p>
                      <a:endParaRPr lang="es-CO" sz="1600">
                        <a:latin typeface="Arial" panose="020B0604020202020204" pitchFamily="34" charset="0"/>
                        <a:cs typeface="Arial" panose="020B0604020202020204" pitchFamily="34" charset="0"/>
                      </a:endParaRPr>
                    </a:p>
                  </a:txBody>
                  <a:tcPr/>
                </a:tc>
                <a:tc>
                  <a: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lang="es-CO" sz="1600" dirty="0">
                          <a:latin typeface="Arial" panose="020B0604020202020204" pitchFamily="34" charset="0"/>
                          <a:cs typeface="Arial" panose="020B0604020202020204" pitchFamily="34" charset="0"/>
                        </a:rPr>
                        <a:t>Segmento de cliente potencial</a:t>
                      </a:r>
                    </a:p>
                  </a:txBody>
                  <a:tcPr/>
                </a:tc>
                <a:extLst>
                  <a:ext uri="{0D108BD9-81ED-4DB2-BD59-A6C34878D82A}">
                    <a16:rowId xmlns:a16="http://schemas.microsoft.com/office/drawing/2014/main" val="2490939613"/>
                  </a:ext>
                </a:extLst>
              </a:tr>
            </a:tbl>
          </a:graphicData>
        </a:graphic>
      </p:graphicFrame>
    </p:spTree>
    <p:extLst>
      <p:ext uri="{BB962C8B-B14F-4D97-AF65-F5344CB8AC3E}">
        <p14:creationId xmlns:p14="http://schemas.microsoft.com/office/powerpoint/2010/main" val="342429980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CD3B507D-B343-498F-97D5-78CBF4589AAB}"/>
              </a:ext>
            </a:extLst>
          </p:cNvPr>
          <p:cNvSpPr txBox="1"/>
          <p:nvPr/>
        </p:nvSpPr>
        <p:spPr>
          <a:xfrm>
            <a:off x="634999" y="182067"/>
            <a:ext cx="9956621" cy="470730"/>
          </a:xfrm>
          <a:prstGeom prst="rect">
            <a:avLst/>
          </a:prstGeom>
          <a:noFill/>
        </p:spPr>
        <p:txBody>
          <a:bodyPr wrap="square">
            <a:spAutoFit/>
          </a:bodyPr>
          <a:lstStyle/>
          <a:p>
            <a:r>
              <a:rPr lang="es-CO" sz="2400" b="1" dirty="0">
                <a:solidFill>
                  <a:schemeClr val="bg1"/>
                </a:solidFill>
                <a:latin typeface="Arial" panose="020B0604020202020204" pitchFamily="34" charset="0"/>
                <a:cs typeface="Arial" panose="020B0604020202020204" pitchFamily="34" charset="0"/>
              </a:rPr>
              <a:t>PLANTILLA CUSTOMER JOURNEY</a:t>
            </a:r>
          </a:p>
        </p:txBody>
      </p:sp>
      <p:grpSp>
        <p:nvGrpSpPr>
          <p:cNvPr id="6" name="Group 5">
            <a:extLst>
              <a:ext uri="{FF2B5EF4-FFF2-40B4-BE49-F238E27FC236}">
                <a16:creationId xmlns:a16="http://schemas.microsoft.com/office/drawing/2014/main" id="{261DB4A7-4C07-46D7-916D-B61EDC194383}"/>
              </a:ext>
            </a:extLst>
          </p:cNvPr>
          <p:cNvGrpSpPr/>
          <p:nvPr/>
        </p:nvGrpSpPr>
        <p:grpSpPr>
          <a:xfrm>
            <a:off x="1950587" y="827416"/>
            <a:ext cx="8657967" cy="5679773"/>
            <a:chOff x="3366122" y="869749"/>
            <a:chExt cx="8657967" cy="5679773"/>
          </a:xfrm>
        </p:grpSpPr>
        <p:sp>
          <p:nvSpPr>
            <p:cNvPr id="2" name="Rectangle 1">
              <a:extLst>
                <a:ext uri="{FF2B5EF4-FFF2-40B4-BE49-F238E27FC236}">
                  <a16:creationId xmlns:a16="http://schemas.microsoft.com/office/drawing/2014/main" id="{AD32C72C-1F96-4DFD-ADD8-EB98012F7829}"/>
                </a:ext>
              </a:extLst>
            </p:cNvPr>
            <p:cNvSpPr/>
            <p:nvPr/>
          </p:nvSpPr>
          <p:spPr>
            <a:xfrm>
              <a:off x="3366122" y="869749"/>
              <a:ext cx="1620744" cy="336885"/>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s-CO" sz="1200" b="1" dirty="0">
                  <a:solidFill>
                    <a:schemeClr val="tx1"/>
                  </a:solidFill>
                  <a:latin typeface="Arial" panose="020B0604020202020204" pitchFamily="34" charset="0"/>
                  <a:cs typeface="Arial" panose="020B0604020202020204" pitchFamily="34" charset="0"/>
                </a:rPr>
                <a:t>FASES</a:t>
              </a:r>
            </a:p>
            <a:p>
              <a:pPr algn="ctr"/>
              <a:r>
                <a:rPr lang="es-CO" sz="1000" b="1" dirty="0">
                  <a:solidFill>
                    <a:schemeClr val="tx1"/>
                  </a:solidFill>
                  <a:latin typeface="Arial" panose="020B0604020202020204" pitchFamily="34" charset="0"/>
                  <a:cs typeface="Arial" panose="020B0604020202020204" pitchFamily="34" charset="0"/>
                </a:rPr>
                <a:t>Descritas por el cliente</a:t>
              </a:r>
            </a:p>
          </p:txBody>
        </p:sp>
        <p:sp>
          <p:nvSpPr>
            <p:cNvPr id="7" name="Rectangle 6">
              <a:extLst>
                <a:ext uri="{FF2B5EF4-FFF2-40B4-BE49-F238E27FC236}">
                  <a16:creationId xmlns:a16="http://schemas.microsoft.com/office/drawing/2014/main" id="{FA6EFE21-4F3A-45B5-ABF0-093745D6274C}"/>
                </a:ext>
              </a:extLst>
            </p:cNvPr>
            <p:cNvSpPr/>
            <p:nvPr/>
          </p:nvSpPr>
          <p:spPr>
            <a:xfrm>
              <a:off x="3366122" y="1322067"/>
              <a:ext cx="1620744" cy="551183"/>
            </a:xfrm>
            <a:prstGeom prst="rect">
              <a:avLst/>
            </a:prstGeom>
            <a:solidFill>
              <a:schemeClr val="accent4">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s-CO" sz="1200" b="1" dirty="0">
                  <a:solidFill>
                    <a:schemeClr val="tx1"/>
                  </a:solidFill>
                  <a:latin typeface="Arial" panose="020B0604020202020204" pitchFamily="34" charset="0"/>
                  <a:cs typeface="Arial" panose="020B0604020202020204" pitchFamily="34" charset="0"/>
                </a:rPr>
                <a:t>NECESIDADES</a:t>
              </a:r>
            </a:p>
            <a:p>
              <a:pPr algn="ctr"/>
              <a:r>
                <a:rPr lang="es-CO" sz="1000" b="1" dirty="0">
                  <a:solidFill>
                    <a:schemeClr val="tx1"/>
                  </a:solidFill>
                  <a:latin typeface="Arial" panose="020B0604020202020204" pitchFamily="34" charset="0"/>
                  <a:cs typeface="Arial" panose="020B0604020202020204" pitchFamily="34" charset="0"/>
                </a:rPr>
                <a:t>Del cliente en cada momento de las fases</a:t>
              </a:r>
            </a:p>
          </p:txBody>
        </p:sp>
        <p:sp>
          <p:nvSpPr>
            <p:cNvPr id="8" name="Rectangle 7">
              <a:extLst>
                <a:ext uri="{FF2B5EF4-FFF2-40B4-BE49-F238E27FC236}">
                  <a16:creationId xmlns:a16="http://schemas.microsoft.com/office/drawing/2014/main" id="{F03B8265-C3FC-49AD-B22E-50F543F8AA49}"/>
                </a:ext>
              </a:extLst>
            </p:cNvPr>
            <p:cNvSpPr/>
            <p:nvPr/>
          </p:nvSpPr>
          <p:spPr>
            <a:xfrm>
              <a:off x="3366122" y="1969633"/>
              <a:ext cx="1620744" cy="551183"/>
            </a:xfrm>
            <a:prstGeom prst="rect">
              <a:avLst/>
            </a:prstGeom>
            <a:solidFill>
              <a:schemeClr val="accent4">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s-CO" sz="1200" b="1" dirty="0">
                  <a:solidFill>
                    <a:schemeClr val="tx1"/>
                  </a:solidFill>
                  <a:latin typeface="Arial" panose="020B0604020202020204" pitchFamily="34" charset="0"/>
                  <a:cs typeface="Arial" panose="020B0604020202020204" pitchFamily="34" charset="0"/>
                </a:rPr>
                <a:t>ACTIVIDADES</a:t>
              </a:r>
            </a:p>
            <a:p>
              <a:pPr algn="ctr"/>
              <a:r>
                <a:rPr lang="es-CO" sz="1000" b="1" dirty="0">
                  <a:solidFill>
                    <a:schemeClr val="tx1"/>
                  </a:solidFill>
                  <a:latin typeface="Arial" panose="020B0604020202020204" pitchFamily="34" charset="0"/>
                  <a:cs typeface="Arial" panose="020B0604020202020204" pitchFamily="34" charset="0"/>
                </a:rPr>
                <a:t>Del cliente para satisfacer necesidad</a:t>
              </a:r>
            </a:p>
          </p:txBody>
        </p:sp>
        <p:sp>
          <p:nvSpPr>
            <p:cNvPr id="9" name="Rectangle 8">
              <a:extLst>
                <a:ext uri="{FF2B5EF4-FFF2-40B4-BE49-F238E27FC236}">
                  <a16:creationId xmlns:a16="http://schemas.microsoft.com/office/drawing/2014/main" id="{9A1983EF-D4FF-46B1-8440-DF33A25B17E4}"/>
                </a:ext>
              </a:extLst>
            </p:cNvPr>
            <p:cNvSpPr/>
            <p:nvPr/>
          </p:nvSpPr>
          <p:spPr>
            <a:xfrm>
              <a:off x="3366122" y="2617199"/>
              <a:ext cx="1620744" cy="551183"/>
            </a:xfrm>
            <a:prstGeom prst="rect">
              <a:avLst/>
            </a:prstGeom>
            <a:solidFill>
              <a:srgbClr val="EA3A5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s-CO" sz="1200" b="1" dirty="0">
                  <a:solidFill>
                    <a:schemeClr val="bg1"/>
                  </a:solidFill>
                  <a:latin typeface="Arial" panose="020B0604020202020204" pitchFamily="34" charset="0"/>
                  <a:cs typeface="Arial" panose="020B0604020202020204" pitchFamily="34" charset="0"/>
                </a:rPr>
                <a:t>CANALES, PUNTOS DE CONTACTO</a:t>
              </a:r>
              <a:endParaRPr lang="es-CO" sz="1000" b="1" dirty="0">
                <a:solidFill>
                  <a:schemeClr val="bg1"/>
                </a:solidFill>
                <a:latin typeface="Arial" panose="020B0604020202020204" pitchFamily="34" charset="0"/>
                <a:cs typeface="Arial" panose="020B0604020202020204" pitchFamily="34" charset="0"/>
              </a:endParaRPr>
            </a:p>
          </p:txBody>
        </p:sp>
        <p:sp>
          <p:nvSpPr>
            <p:cNvPr id="10" name="Rectangle 9">
              <a:extLst>
                <a:ext uri="{FF2B5EF4-FFF2-40B4-BE49-F238E27FC236}">
                  <a16:creationId xmlns:a16="http://schemas.microsoft.com/office/drawing/2014/main" id="{87810E87-F3A4-403D-9665-3B3290A9623E}"/>
                </a:ext>
              </a:extLst>
            </p:cNvPr>
            <p:cNvSpPr/>
            <p:nvPr/>
          </p:nvSpPr>
          <p:spPr>
            <a:xfrm>
              <a:off x="3366122" y="3264765"/>
              <a:ext cx="1620744" cy="551183"/>
            </a:xfrm>
            <a:prstGeom prst="rect">
              <a:avLst/>
            </a:prstGeom>
            <a:solidFill>
              <a:srgbClr val="5D18CE"/>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s-CO" sz="1200" b="1" dirty="0">
                  <a:solidFill>
                    <a:schemeClr val="bg1"/>
                  </a:solidFill>
                  <a:latin typeface="Arial" panose="020B0604020202020204" pitchFamily="34" charset="0"/>
                  <a:cs typeface="Arial" panose="020B0604020202020204" pitchFamily="34" charset="0"/>
                </a:rPr>
                <a:t>EXPECTATIVA</a:t>
              </a:r>
            </a:p>
            <a:p>
              <a:pPr algn="ctr"/>
              <a:r>
                <a:rPr lang="es-CO" sz="1000" b="1" dirty="0">
                  <a:solidFill>
                    <a:schemeClr val="bg1"/>
                  </a:solidFill>
                  <a:latin typeface="Arial" panose="020B0604020202020204" pitchFamily="34" charset="0"/>
                  <a:cs typeface="Arial" panose="020B0604020202020204" pitchFamily="34" charset="0"/>
                </a:rPr>
                <a:t>Del cliente en cada una de las fases</a:t>
              </a:r>
              <a:endParaRPr lang="es-CO" sz="700" b="1" dirty="0">
                <a:solidFill>
                  <a:schemeClr val="bg1"/>
                </a:solidFill>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2D70ED3A-26F9-4DA8-83EB-F7904304F66B}"/>
                </a:ext>
              </a:extLst>
            </p:cNvPr>
            <p:cNvSpPr/>
            <p:nvPr/>
          </p:nvSpPr>
          <p:spPr>
            <a:xfrm>
              <a:off x="3366122" y="3912331"/>
              <a:ext cx="1620744" cy="79936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s-CO" sz="1200" b="1" dirty="0">
                  <a:solidFill>
                    <a:schemeClr val="bg2"/>
                  </a:solidFill>
                  <a:latin typeface="Arial" panose="020B0604020202020204" pitchFamily="34" charset="0"/>
                  <a:cs typeface="Arial" panose="020B0604020202020204" pitchFamily="34" charset="0"/>
                </a:rPr>
                <a:t>EXPERIENCIA</a:t>
              </a:r>
            </a:p>
            <a:p>
              <a:pPr algn="ctr"/>
              <a:r>
                <a:rPr lang="es-CO" sz="1000" b="1" dirty="0">
                  <a:solidFill>
                    <a:schemeClr val="bg2"/>
                  </a:solidFill>
                  <a:latin typeface="Arial" panose="020B0604020202020204" pitchFamily="34" charset="0"/>
                  <a:cs typeface="Arial" panose="020B0604020202020204" pitchFamily="34" charset="0"/>
                </a:rPr>
                <a:t>Percepción del cliente positiva, negativa o neutra</a:t>
              </a:r>
              <a:endParaRPr lang="es-CO" sz="700" b="1" dirty="0">
                <a:solidFill>
                  <a:schemeClr val="bg2"/>
                </a:solidFill>
                <a:latin typeface="Arial" panose="020B0604020202020204" pitchFamily="34" charset="0"/>
                <a:cs typeface="Arial" panose="020B0604020202020204" pitchFamily="34" charset="0"/>
              </a:endParaRPr>
            </a:p>
          </p:txBody>
        </p:sp>
        <p:sp>
          <p:nvSpPr>
            <p:cNvPr id="12" name="Rectangle 11">
              <a:extLst>
                <a:ext uri="{FF2B5EF4-FFF2-40B4-BE49-F238E27FC236}">
                  <a16:creationId xmlns:a16="http://schemas.microsoft.com/office/drawing/2014/main" id="{8F9F3F36-EB7E-435E-8B73-D6819A0E0E16}"/>
                </a:ext>
              </a:extLst>
            </p:cNvPr>
            <p:cNvSpPr/>
            <p:nvPr/>
          </p:nvSpPr>
          <p:spPr>
            <a:xfrm>
              <a:off x="3366122" y="4831242"/>
              <a:ext cx="1620744" cy="799369"/>
            </a:xfrm>
            <a:prstGeom prst="rect">
              <a:avLst/>
            </a:prstGeom>
            <a:solidFill>
              <a:srgbClr val="EF5FA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s-CO" sz="1200" b="1" dirty="0">
                  <a:solidFill>
                    <a:schemeClr val="tx1"/>
                  </a:solidFill>
                  <a:latin typeface="Arial" panose="020B0604020202020204" pitchFamily="34" charset="0"/>
                  <a:cs typeface="Arial" panose="020B0604020202020204" pitchFamily="34" charset="0"/>
                </a:rPr>
                <a:t>EXPERIENCIA MEMORABLE</a:t>
              </a:r>
            </a:p>
            <a:p>
              <a:pPr algn="ctr"/>
              <a:r>
                <a:rPr lang="es-CO" sz="1000" b="1" dirty="0">
                  <a:solidFill>
                    <a:schemeClr val="tx1"/>
                  </a:solidFill>
                  <a:latin typeface="Arial" panose="020B0604020202020204" pitchFamily="34" charset="0"/>
                  <a:cs typeface="Arial" panose="020B0604020202020204" pitchFamily="34" charset="0"/>
                </a:rPr>
                <a:t>Experiencia perfecta</a:t>
              </a:r>
              <a:endParaRPr lang="es-CO" sz="700" b="1" dirty="0">
                <a:solidFill>
                  <a:schemeClr val="tx1"/>
                </a:solidFill>
                <a:latin typeface="Arial" panose="020B0604020202020204" pitchFamily="34" charset="0"/>
                <a:cs typeface="Arial" panose="020B0604020202020204" pitchFamily="34" charset="0"/>
              </a:endParaRPr>
            </a:p>
          </p:txBody>
        </p:sp>
        <p:sp>
          <p:nvSpPr>
            <p:cNvPr id="13" name="Rectangle 12">
              <a:extLst>
                <a:ext uri="{FF2B5EF4-FFF2-40B4-BE49-F238E27FC236}">
                  <a16:creationId xmlns:a16="http://schemas.microsoft.com/office/drawing/2014/main" id="{76396A78-CA3F-4CB5-B0C1-0088D495A014}"/>
                </a:ext>
              </a:extLst>
            </p:cNvPr>
            <p:cNvSpPr/>
            <p:nvPr/>
          </p:nvSpPr>
          <p:spPr>
            <a:xfrm>
              <a:off x="3366122" y="5750153"/>
              <a:ext cx="1620744" cy="799369"/>
            </a:xfrm>
            <a:prstGeom prst="rect">
              <a:avLst/>
            </a:prstGeom>
            <a:solidFill>
              <a:srgbClr val="F2C5C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s-CO" sz="1200" b="1" dirty="0">
                  <a:solidFill>
                    <a:schemeClr val="tx1"/>
                  </a:solidFill>
                  <a:latin typeface="Arial" panose="020B0604020202020204" pitchFamily="34" charset="0"/>
                  <a:cs typeface="Arial" panose="020B0604020202020204" pitchFamily="34" charset="0"/>
                </a:rPr>
                <a:t>OPORTUNIDADES DE MEJORA</a:t>
              </a:r>
            </a:p>
            <a:p>
              <a:pPr algn="ctr"/>
              <a:r>
                <a:rPr lang="es-CO" sz="1000" b="1" dirty="0">
                  <a:solidFill>
                    <a:schemeClr val="tx1"/>
                  </a:solidFill>
                  <a:latin typeface="Arial" panose="020B0604020202020204" pitchFamily="34" charset="0"/>
                  <a:cs typeface="Arial" panose="020B0604020202020204" pitchFamily="34" charset="0"/>
                </a:rPr>
                <a:t>Derivadas del análisis </a:t>
              </a:r>
              <a:endParaRPr lang="es-CO" sz="700" b="1" dirty="0">
                <a:solidFill>
                  <a:schemeClr val="tx1"/>
                </a:solidFill>
                <a:latin typeface="Arial" panose="020B0604020202020204" pitchFamily="34" charset="0"/>
                <a:cs typeface="Arial" panose="020B0604020202020204" pitchFamily="34" charset="0"/>
              </a:endParaRPr>
            </a:p>
          </p:txBody>
        </p:sp>
        <p:cxnSp>
          <p:nvCxnSpPr>
            <p:cNvPr id="5" name="Straight Connector 4">
              <a:extLst>
                <a:ext uri="{FF2B5EF4-FFF2-40B4-BE49-F238E27FC236}">
                  <a16:creationId xmlns:a16="http://schemas.microsoft.com/office/drawing/2014/main" id="{ACEDF268-4996-47AC-95A1-EA61D6813161}"/>
                </a:ext>
              </a:extLst>
            </p:cNvPr>
            <p:cNvCxnSpPr/>
            <p:nvPr/>
          </p:nvCxnSpPr>
          <p:spPr>
            <a:xfrm>
              <a:off x="5184089" y="4025153"/>
              <a:ext cx="6840000" cy="0"/>
            </a:xfrm>
            <a:prstGeom prst="line">
              <a:avLst/>
            </a:prstGeom>
            <a:ln w="9525">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2B59B27D-9096-42AE-B478-2CFA7B8AD322}"/>
                </a:ext>
              </a:extLst>
            </p:cNvPr>
            <p:cNvCxnSpPr/>
            <p:nvPr/>
          </p:nvCxnSpPr>
          <p:spPr>
            <a:xfrm>
              <a:off x="5184087" y="4329952"/>
              <a:ext cx="6840000" cy="0"/>
            </a:xfrm>
            <a:prstGeom prst="line">
              <a:avLst/>
            </a:prstGeom>
            <a:ln w="9525">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753FC988-99A2-4060-9A3F-ABDDCB249FC2}"/>
                </a:ext>
              </a:extLst>
            </p:cNvPr>
            <p:cNvCxnSpPr/>
            <p:nvPr/>
          </p:nvCxnSpPr>
          <p:spPr>
            <a:xfrm>
              <a:off x="5184088" y="4639982"/>
              <a:ext cx="6840000" cy="0"/>
            </a:xfrm>
            <a:prstGeom prst="line">
              <a:avLst/>
            </a:prstGeom>
            <a:ln w="9525">
              <a:solidFill>
                <a:schemeClr val="bg1"/>
              </a:solidFill>
              <a:tailEnd type="none"/>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2C52C0E2-7615-47CE-9329-55869F51964D}"/>
                </a:ext>
              </a:extLst>
            </p:cNvPr>
            <p:cNvSpPr/>
            <p:nvPr/>
          </p:nvSpPr>
          <p:spPr>
            <a:xfrm>
              <a:off x="5184087" y="869749"/>
              <a:ext cx="1620744" cy="336885"/>
            </a:xfrm>
            <a:prstGeom prst="rect">
              <a:avLst/>
            </a:prstGeom>
            <a:solidFill>
              <a:srgbClr val="D4BFF8">
                <a:alpha val="6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s-CO" sz="900" dirty="0">
                <a:solidFill>
                  <a:schemeClr val="tx1"/>
                </a:solidFill>
                <a:latin typeface="Arial" panose="020B0604020202020204" pitchFamily="34" charset="0"/>
                <a:cs typeface="Arial" panose="020B0604020202020204" pitchFamily="34" charset="0"/>
              </a:endParaRPr>
            </a:p>
          </p:txBody>
        </p:sp>
        <p:sp>
          <p:nvSpPr>
            <p:cNvPr id="18" name="Rectangle 17">
              <a:extLst>
                <a:ext uri="{FF2B5EF4-FFF2-40B4-BE49-F238E27FC236}">
                  <a16:creationId xmlns:a16="http://schemas.microsoft.com/office/drawing/2014/main" id="{0688AE72-9DCC-4D78-AD8E-FC32C6BE67FF}"/>
                </a:ext>
              </a:extLst>
            </p:cNvPr>
            <p:cNvSpPr/>
            <p:nvPr/>
          </p:nvSpPr>
          <p:spPr>
            <a:xfrm>
              <a:off x="5184087" y="1322067"/>
              <a:ext cx="1620744" cy="551183"/>
            </a:xfrm>
            <a:prstGeom prst="rect">
              <a:avLst/>
            </a:prstGeom>
            <a:solidFill>
              <a:srgbClr val="A97FF0">
                <a:alpha val="6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s-CO" sz="900" dirty="0">
                <a:solidFill>
                  <a:schemeClr val="tx1"/>
                </a:solidFill>
                <a:latin typeface="Arial" panose="020B0604020202020204" pitchFamily="34" charset="0"/>
                <a:cs typeface="Arial" panose="020B0604020202020204" pitchFamily="34" charset="0"/>
              </a:endParaRPr>
            </a:p>
          </p:txBody>
        </p:sp>
        <p:sp>
          <p:nvSpPr>
            <p:cNvPr id="19" name="Rectangle 18">
              <a:extLst>
                <a:ext uri="{FF2B5EF4-FFF2-40B4-BE49-F238E27FC236}">
                  <a16:creationId xmlns:a16="http://schemas.microsoft.com/office/drawing/2014/main" id="{2B3082CB-7F63-49CF-9FB3-111A055648DD}"/>
                </a:ext>
              </a:extLst>
            </p:cNvPr>
            <p:cNvSpPr/>
            <p:nvPr/>
          </p:nvSpPr>
          <p:spPr>
            <a:xfrm>
              <a:off x="5184087" y="1969633"/>
              <a:ext cx="1620744" cy="551183"/>
            </a:xfrm>
            <a:prstGeom prst="rect">
              <a:avLst/>
            </a:prstGeom>
            <a:solidFill>
              <a:srgbClr val="7E40E9">
                <a:alpha val="6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s-CO" sz="900" dirty="0">
                <a:solidFill>
                  <a:schemeClr val="tx1"/>
                </a:solidFill>
                <a:latin typeface="Arial" panose="020B0604020202020204" pitchFamily="34" charset="0"/>
                <a:cs typeface="Arial" panose="020B0604020202020204" pitchFamily="34" charset="0"/>
              </a:endParaRPr>
            </a:p>
          </p:txBody>
        </p:sp>
        <p:sp>
          <p:nvSpPr>
            <p:cNvPr id="20" name="Rectangle 19">
              <a:extLst>
                <a:ext uri="{FF2B5EF4-FFF2-40B4-BE49-F238E27FC236}">
                  <a16:creationId xmlns:a16="http://schemas.microsoft.com/office/drawing/2014/main" id="{8160494A-B5A6-4F23-827C-054E6D44097C}"/>
                </a:ext>
              </a:extLst>
            </p:cNvPr>
            <p:cNvSpPr/>
            <p:nvPr/>
          </p:nvSpPr>
          <p:spPr>
            <a:xfrm>
              <a:off x="5184087" y="2617199"/>
              <a:ext cx="1620744" cy="551183"/>
            </a:xfrm>
            <a:prstGeom prst="rect">
              <a:avLst/>
            </a:prstGeom>
            <a:solidFill>
              <a:srgbClr val="EA3A55">
                <a:alpha val="6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s-CO" sz="900" dirty="0">
                <a:solidFill>
                  <a:schemeClr val="bg1"/>
                </a:solidFill>
                <a:latin typeface="Arial" panose="020B0604020202020204" pitchFamily="34" charset="0"/>
                <a:cs typeface="Arial" panose="020B0604020202020204" pitchFamily="34" charset="0"/>
              </a:endParaRPr>
            </a:p>
          </p:txBody>
        </p:sp>
        <p:sp>
          <p:nvSpPr>
            <p:cNvPr id="21" name="Rectangle 20">
              <a:extLst>
                <a:ext uri="{FF2B5EF4-FFF2-40B4-BE49-F238E27FC236}">
                  <a16:creationId xmlns:a16="http://schemas.microsoft.com/office/drawing/2014/main" id="{6091546B-A0F7-4E1D-B868-656797AE017A}"/>
                </a:ext>
              </a:extLst>
            </p:cNvPr>
            <p:cNvSpPr/>
            <p:nvPr/>
          </p:nvSpPr>
          <p:spPr>
            <a:xfrm>
              <a:off x="5184087" y="3264765"/>
              <a:ext cx="1620744" cy="551183"/>
            </a:xfrm>
            <a:prstGeom prst="rect">
              <a:avLst/>
            </a:prstGeom>
            <a:solidFill>
              <a:srgbClr val="5D18CE">
                <a:alpha val="6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s-CO" sz="900" dirty="0">
                <a:solidFill>
                  <a:schemeClr val="bg1"/>
                </a:solidFill>
                <a:latin typeface="Arial" panose="020B0604020202020204" pitchFamily="34" charset="0"/>
                <a:cs typeface="Arial" panose="020B0604020202020204" pitchFamily="34" charset="0"/>
              </a:endParaRPr>
            </a:p>
          </p:txBody>
        </p:sp>
        <p:sp>
          <p:nvSpPr>
            <p:cNvPr id="22" name="Rectangle 21">
              <a:extLst>
                <a:ext uri="{FF2B5EF4-FFF2-40B4-BE49-F238E27FC236}">
                  <a16:creationId xmlns:a16="http://schemas.microsoft.com/office/drawing/2014/main" id="{F8F8F633-3053-46E3-A104-33F46481EC99}"/>
                </a:ext>
              </a:extLst>
            </p:cNvPr>
            <p:cNvSpPr/>
            <p:nvPr/>
          </p:nvSpPr>
          <p:spPr>
            <a:xfrm>
              <a:off x="5184087" y="4831242"/>
              <a:ext cx="1620744" cy="799369"/>
            </a:xfrm>
            <a:prstGeom prst="rect">
              <a:avLst/>
            </a:prstGeom>
            <a:solidFill>
              <a:srgbClr val="EF5FA7">
                <a:alpha val="6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s-CO" sz="900" dirty="0">
                <a:solidFill>
                  <a:schemeClr val="tx1"/>
                </a:solidFill>
                <a:latin typeface="Arial" panose="020B0604020202020204" pitchFamily="34" charset="0"/>
                <a:cs typeface="Arial" panose="020B0604020202020204" pitchFamily="34" charset="0"/>
              </a:endParaRPr>
            </a:p>
          </p:txBody>
        </p:sp>
        <p:sp>
          <p:nvSpPr>
            <p:cNvPr id="23" name="Rectangle 22">
              <a:extLst>
                <a:ext uri="{FF2B5EF4-FFF2-40B4-BE49-F238E27FC236}">
                  <a16:creationId xmlns:a16="http://schemas.microsoft.com/office/drawing/2014/main" id="{F54CC053-6EF7-4F0A-AD79-3D85E55AFAD9}"/>
                </a:ext>
              </a:extLst>
            </p:cNvPr>
            <p:cNvSpPr/>
            <p:nvPr/>
          </p:nvSpPr>
          <p:spPr>
            <a:xfrm>
              <a:off x="5184087" y="5750153"/>
              <a:ext cx="1620744" cy="799369"/>
            </a:xfrm>
            <a:prstGeom prst="rect">
              <a:avLst/>
            </a:prstGeom>
            <a:solidFill>
              <a:srgbClr val="F2C5C3">
                <a:alpha val="6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s-CO" sz="900" dirty="0">
                <a:solidFill>
                  <a:schemeClr val="tx1"/>
                </a:solidFill>
                <a:latin typeface="Arial" panose="020B0604020202020204" pitchFamily="34" charset="0"/>
                <a:cs typeface="Arial" panose="020B0604020202020204" pitchFamily="34" charset="0"/>
              </a:endParaRPr>
            </a:p>
          </p:txBody>
        </p:sp>
        <p:sp>
          <p:nvSpPr>
            <p:cNvPr id="38" name="Rectangle 37">
              <a:extLst>
                <a:ext uri="{FF2B5EF4-FFF2-40B4-BE49-F238E27FC236}">
                  <a16:creationId xmlns:a16="http://schemas.microsoft.com/office/drawing/2014/main" id="{1E939950-55B8-442A-9079-1DDA326A7D4B}"/>
                </a:ext>
              </a:extLst>
            </p:cNvPr>
            <p:cNvSpPr/>
            <p:nvPr/>
          </p:nvSpPr>
          <p:spPr>
            <a:xfrm>
              <a:off x="6925851" y="869749"/>
              <a:ext cx="1620744" cy="336885"/>
            </a:xfrm>
            <a:prstGeom prst="rect">
              <a:avLst/>
            </a:prstGeom>
            <a:solidFill>
              <a:srgbClr val="D4BFF8">
                <a:alpha val="6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s-CO" sz="900" dirty="0">
                <a:solidFill>
                  <a:schemeClr val="tx1"/>
                </a:solidFill>
                <a:latin typeface="Arial" panose="020B0604020202020204" pitchFamily="34" charset="0"/>
                <a:cs typeface="Arial" panose="020B0604020202020204" pitchFamily="34" charset="0"/>
              </a:endParaRPr>
            </a:p>
          </p:txBody>
        </p:sp>
        <p:sp>
          <p:nvSpPr>
            <p:cNvPr id="39" name="Rectangle 38">
              <a:extLst>
                <a:ext uri="{FF2B5EF4-FFF2-40B4-BE49-F238E27FC236}">
                  <a16:creationId xmlns:a16="http://schemas.microsoft.com/office/drawing/2014/main" id="{BBB8749C-1D72-409B-B6AF-931B6A0B45ED}"/>
                </a:ext>
              </a:extLst>
            </p:cNvPr>
            <p:cNvSpPr/>
            <p:nvPr/>
          </p:nvSpPr>
          <p:spPr>
            <a:xfrm>
              <a:off x="6925851" y="1322067"/>
              <a:ext cx="1620744" cy="551183"/>
            </a:xfrm>
            <a:prstGeom prst="rect">
              <a:avLst/>
            </a:prstGeom>
            <a:solidFill>
              <a:srgbClr val="A97FF0">
                <a:alpha val="6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s-CO" sz="900" dirty="0">
                <a:solidFill>
                  <a:schemeClr val="tx1"/>
                </a:solidFill>
                <a:latin typeface="Arial" panose="020B0604020202020204" pitchFamily="34" charset="0"/>
                <a:cs typeface="Arial" panose="020B0604020202020204" pitchFamily="34" charset="0"/>
              </a:endParaRPr>
            </a:p>
          </p:txBody>
        </p:sp>
        <p:sp>
          <p:nvSpPr>
            <p:cNvPr id="40" name="Rectangle 39">
              <a:extLst>
                <a:ext uri="{FF2B5EF4-FFF2-40B4-BE49-F238E27FC236}">
                  <a16:creationId xmlns:a16="http://schemas.microsoft.com/office/drawing/2014/main" id="{23DAAC81-4A3D-44E0-B37F-80D55820568E}"/>
                </a:ext>
              </a:extLst>
            </p:cNvPr>
            <p:cNvSpPr/>
            <p:nvPr/>
          </p:nvSpPr>
          <p:spPr>
            <a:xfrm>
              <a:off x="6925851" y="1969633"/>
              <a:ext cx="1620744" cy="551183"/>
            </a:xfrm>
            <a:prstGeom prst="rect">
              <a:avLst/>
            </a:prstGeom>
            <a:solidFill>
              <a:srgbClr val="7E40E9">
                <a:alpha val="6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s-CO" sz="900" dirty="0">
                <a:solidFill>
                  <a:schemeClr val="tx1"/>
                </a:solidFill>
                <a:latin typeface="Arial" panose="020B0604020202020204" pitchFamily="34" charset="0"/>
                <a:cs typeface="Arial" panose="020B0604020202020204" pitchFamily="34" charset="0"/>
              </a:endParaRPr>
            </a:p>
          </p:txBody>
        </p:sp>
        <p:sp>
          <p:nvSpPr>
            <p:cNvPr id="41" name="Rectangle 40">
              <a:extLst>
                <a:ext uri="{FF2B5EF4-FFF2-40B4-BE49-F238E27FC236}">
                  <a16:creationId xmlns:a16="http://schemas.microsoft.com/office/drawing/2014/main" id="{B5659BD7-1C2C-447C-AC45-8AC1F3767E48}"/>
                </a:ext>
              </a:extLst>
            </p:cNvPr>
            <p:cNvSpPr/>
            <p:nvPr/>
          </p:nvSpPr>
          <p:spPr>
            <a:xfrm>
              <a:off x="6925851" y="2617199"/>
              <a:ext cx="1620744" cy="551183"/>
            </a:xfrm>
            <a:prstGeom prst="rect">
              <a:avLst/>
            </a:prstGeom>
            <a:solidFill>
              <a:srgbClr val="EA3A55">
                <a:alpha val="6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s-CO" sz="900" dirty="0">
                <a:solidFill>
                  <a:schemeClr val="bg1"/>
                </a:solidFill>
                <a:latin typeface="Arial" panose="020B0604020202020204" pitchFamily="34" charset="0"/>
                <a:cs typeface="Arial" panose="020B0604020202020204" pitchFamily="34" charset="0"/>
              </a:endParaRPr>
            </a:p>
          </p:txBody>
        </p:sp>
        <p:sp>
          <p:nvSpPr>
            <p:cNvPr id="42" name="Rectangle 41">
              <a:extLst>
                <a:ext uri="{FF2B5EF4-FFF2-40B4-BE49-F238E27FC236}">
                  <a16:creationId xmlns:a16="http://schemas.microsoft.com/office/drawing/2014/main" id="{2F9652C3-5AB4-4579-81DB-F9040EEE4957}"/>
                </a:ext>
              </a:extLst>
            </p:cNvPr>
            <p:cNvSpPr/>
            <p:nvPr/>
          </p:nvSpPr>
          <p:spPr>
            <a:xfrm>
              <a:off x="6925851" y="3264765"/>
              <a:ext cx="1620744" cy="551183"/>
            </a:xfrm>
            <a:prstGeom prst="rect">
              <a:avLst/>
            </a:prstGeom>
            <a:solidFill>
              <a:srgbClr val="5D18CE">
                <a:alpha val="6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s-CO" sz="900" dirty="0">
                <a:solidFill>
                  <a:schemeClr val="bg1"/>
                </a:solidFill>
                <a:latin typeface="Arial" panose="020B0604020202020204" pitchFamily="34" charset="0"/>
                <a:cs typeface="Arial" panose="020B0604020202020204" pitchFamily="34" charset="0"/>
              </a:endParaRPr>
            </a:p>
          </p:txBody>
        </p:sp>
        <p:sp>
          <p:nvSpPr>
            <p:cNvPr id="43" name="Rectangle 42">
              <a:extLst>
                <a:ext uri="{FF2B5EF4-FFF2-40B4-BE49-F238E27FC236}">
                  <a16:creationId xmlns:a16="http://schemas.microsoft.com/office/drawing/2014/main" id="{8216E04F-408F-4C70-BDDE-E32240252A8D}"/>
                </a:ext>
              </a:extLst>
            </p:cNvPr>
            <p:cNvSpPr/>
            <p:nvPr/>
          </p:nvSpPr>
          <p:spPr>
            <a:xfrm>
              <a:off x="6925851" y="4831242"/>
              <a:ext cx="1620744" cy="799369"/>
            </a:xfrm>
            <a:prstGeom prst="rect">
              <a:avLst/>
            </a:prstGeom>
            <a:solidFill>
              <a:srgbClr val="EF5FA7">
                <a:alpha val="6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s-CO" sz="900" dirty="0">
                <a:solidFill>
                  <a:schemeClr val="tx1"/>
                </a:solidFill>
                <a:latin typeface="Arial" panose="020B0604020202020204" pitchFamily="34" charset="0"/>
                <a:cs typeface="Arial" panose="020B0604020202020204" pitchFamily="34" charset="0"/>
              </a:endParaRPr>
            </a:p>
          </p:txBody>
        </p:sp>
        <p:sp>
          <p:nvSpPr>
            <p:cNvPr id="44" name="Rectangle 43">
              <a:extLst>
                <a:ext uri="{FF2B5EF4-FFF2-40B4-BE49-F238E27FC236}">
                  <a16:creationId xmlns:a16="http://schemas.microsoft.com/office/drawing/2014/main" id="{5B993871-DC36-45AD-AD77-916488C213CD}"/>
                </a:ext>
              </a:extLst>
            </p:cNvPr>
            <p:cNvSpPr/>
            <p:nvPr/>
          </p:nvSpPr>
          <p:spPr>
            <a:xfrm>
              <a:off x="6925851" y="5750153"/>
              <a:ext cx="1620744" cy="799369"/>
            </a:xfrm>
            <a:prstGeom prst="rect">
              <a:avLst/>
            </a:prstGeom>
            <a:solidFill>
              <a:srgbClr val="F2C5C3">
                <a:alpha val="6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s-CO" sz="900" dirty="0">
                <a:solidFill>
                  <a:schemeClr val="tx1"/>
                </a:solidFill>
                <a:latin typeface="Arial" panose="020B0604020202020204" pitchFamily="34" charset="0"/>
                <a:cs typeface="Arial" panose="020B0604020202020204" pitchFamily="34" charset="0"/>
              </a:endParaRPr>
            </a:p>
          </p:txBody>
        </p:sp>
        <p:sp>
          <p:nvSpPr>
            <p:cNvPr id="45" name="Rectangle 44">
              <a:extLst>
                <a:ext uri="{FF2B5EF4-FFF2-40B4-BE49-F238E27FC236}">
                  <a16:creationId xmlns:a16="http://schemas.microsoft.com/office/drawing/2014/main" id="{06412CEB-8FA2-46AD-90B7-5E5F63F9468C}"/>
                </a:ext>
              </a:extLst>
            </p:cNvPr>
            <p:cNvSpPr/>
            <p:nvPr/>
          </p:nvSpPr>
          <p:spPr>
            <a:xfrm>
              <a:off x="8659146" y="869749"/>
              <a:ext cx="1620744" cy="336885"/>
            </a:xfrm>
            <a:prstGeom prst="rect">
              <a:avLst/>
            </a:prstGeom>
            <a:solidFill>
              <a:srgbClr val="D4BFF8">
                <a:alpha val="6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s-CO" sz="900" dirty="0">
                <a:solidFill>
                  <a:schemeClr val="tx1"/>
                </a:solidFill>
                <a:latin typeface="Arial" panose="020B0604020202020204" pitchFamily="34" charset="0"/>
                <a:cs typeface="Arial" panose="020B0604020202020204" pitchFamily="34" charset="0"/>
              </a:endParaRPr>
            </a:p>
          </p:txBody>
        </p:sp>
        <p:sp>
          <p:nvSpPr>
            <p:cNvPr id="46" name="Rectangle 45">
              <a:extLst>
                <a:ext uri="{FF2B5EF4-FFF2-40B4-BE49-F238E27FC236}">
                  <a16:creationId xmlns:a16="http://schemas.microsoft.com/office/drawing/2014/main" id="{5030D191-BACA-494F-8B6E-8AFD48AB9AE9}"/>
                </a:ext>
              </a:extLst>
            </p:cNvPr>
            <p:cNvSpPr/>
            <p:nvPr/>
          </p:nvSpPr>
          <p:spPr>
            <a:xfrm>
              <a:off x="8659146" y="1322067"/>
              <a:ext cx="1620744" cy="551183"/>
            </a:xfrm>
            <a:prstGeom prst="rect">
              <a:avLst/>
            </a:prstGeom>
            <a:solidFill>
              <a:srgbClr val="A97FF0">
                <a:alpha val="6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s-CO" sz="900" dirty="0">
                <a:solidFill>
                  <a:schemeClr val="tx1"/>
                </a:solidFill>
                <a:latin typeface="Arial" panose="020B0604020202020204" pitchFamily="34" charset="0"/>
                <a:cs typeface="Arial" panose="020B0604020202020204" pitchFamily="34" charset="0"/>
              </a:endParaRPr>
            </a:p>
          </p:txBody>
        </p:sp>
        <p:sp>
          <p:nvSpPr>
            <p:cNvPr id="47" name="Rectangle 46">
              <a:extLst>
                <a:ext uri="{FF2B5EF4-FFF2-40B4-BE49-F238E27FC236}">
                  <a16:creationId xmlns:a16="http://schemas.microsoft.com/office/drawing/2014/main" id="{B4179A8D-F4B6-445E-9808-C7E1ED35EAB3}"/>
                </a:ext>
              </a:extLst>
            </p:cNvPr>
            <p:cNvSpPr/>
            <p:nvPr/>
          </p:nvSpPr>
          <p:spPr>
            <a:xfrm>
              <a:off x="8659146" y="1969633"/>
              <a:ext cx="1620744" cy="551183"/>
            </a:xfrm>
            <a:prstGeom prst="rect">
              <a:avLst/>
            </a:prstGeom>
            <a:solidFill>
              <a:srgbClr val="7E40E9">
                <a:alpha val="6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s-CO" sz="900" dirty="0">
                <a:solidFill>
                  <a:schemeClr val="tx1"/>
                </a:solidFill>
                <a:latin typeface="Arial" panose="020B0604020202020204" pitchFamily="34" charset="0"/>
                <a:cs typeface="Arial" panose="020B0604020202020204" pitchFamily="34" charset="0"/>
              </a:endParaRPr>
            </a:p>
          </p:txBody>
        </p:sp>
        <p:sp>
          <p:nvSpPr>
            <p:cNvPr id="48" name="Rectangle 47">
              <a:extLst>
                <a:ext uri="{FF2B5EF4-FFF2-40B4-BE49-F238E27FC236}">
                  <a16:creationId xmlns:a16="http://schemas.microsoft.com/office/drawing/2014/main" id="{07B02A96-9255-45C9-91C9-E1979E87741B}"/>
                </a:ext>
              </a:extLst>
            </p:cNvPr>
            <p:cNvSpPr/>
            <p:nvPr/>
          </p:nvSpPr>
          <p:spPr>
            <a:xfrm>
              <a:off x="8659146" y="2617199"/>
              <a:ext cx="1620744" cy="551183"/>
            </a:xfrm>
            <a:prstGeom prst="rect">
              <a:avLst/>
            </a:prstGeom>
            <a:solidFill>
              <a:srgbClr val="EA3A55">
                <a:alpha val="6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s-CO" sz="900" dirty="0">
                <a:solidFill>
                  <a:schemeClr val="bg1"/>
                </a:solidFill>
                <a:latin typeface="Arial" panose="020B0604020202020204" pitchFamily="34" charset="0"/>
                <a:cs typeface="Arial" panose="020B0604020202020204" pitchFamily="34" charset="0"/>
              </a:endParaRPr>
            </a:p>
          </p:txBody>
        </p:sp>
        <p:sp>
          <p:nvSpPr>
            <p:cNvPr id="49" name="Rectangle 48">
              <a:extLst>
                <a:ext uri="{FF2B5EF4-FFF2-40B4-BE49-F238E27FC236}">
                  <a16:creationId xmlns:a16="http://schemas.microsoft.com/office/drawing/2014/main" id="{FB00FE5E-1D9D-4161-9518-B5CEF7942421}"/>
                </a:ext>
              </a:extLst>
            </p:cNvPr>
            <p:cNvSpPr/>
            <p:nvPr/>
          </p:nvSpPr>
          <p:spPr>
            <a:xfrm>
              <a:off x="8659146" y="3264765"/>
              <a:ext cx="1620744" cy="551183"/>
            </a:xfrm>
            <a:prstGeom prst="rect">
              <a:avLst/>
            </a:prstGeom>
            <a:solidFill>
              <a:srgbClr val="5D18CE">
                <a:alpha val="6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s-CO" sz="900" dirty="0">
                <a:solidFill>
                  <a:schemeClr val="bg1"/>
                </a:solidFill>
                <a:latin typeface="Arial" panose="020B0604020202020204" pitchFamily="34" charset="0"/>
                <a:cs typeface="Arial" panose="020B0604020202020204" pitchFamily="34" charset="0"/>
              </a:endParaRPr>
            </a:p>
          </p:txBody>
        </p:sp>
        <p:sp>
          <p:nvSpPr>
            <p:cNvPr id="50" name="Rectangle 49">
              <a:extLst>
                <a:ext uri="{FF2B5EF4-FFF2-40B4-BE49-F238E27FC236}">
                  <a16:creationId xmlns:a16="http://schemas.microsoft.com/office/drawing/2014/main" id="{2EE506AC-6F01-46A4-86EF-2CA8B79507E5}"/>
                </a:ext>
              </a:extLst>
            </p:cNvPr>
            <p:cNvSpPr/>
            <p:nvPr/>
          </p:nvSpPr>
          <p:spPr>
            <a:xfrm>
              <a:off x="8659146" y="4831242"/>
              <a:ext cx="1620744" cy="799369"/>
            </a:xfrm>
            <a:prstGeom prst="rect">
              <a:avLst/>
            </a:prstGeom>
            <a:solidFill>
              <a:srgbClr val="EF5FA7">
                <a:alpha val="6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s-CO" sz="900" dirty="0">
                <a:solidFill>
                  <a:schemeClr val="tx1"/>
                </a:solidFill>
                <a:latin typeface="Arial" panose="020B0604020202020204" pitchFamily="34" charset="0"/>
                <a:cs typeface="Arial" panose="020B0604020202020204" pitchFamily="34" charset="0"/>
              </a:endParaRPr>
            </a:p>
          </p:txBody>
        </p:sp>
        <p:sp>
          <p:nvSpPr>
            <p:cNvPr id="51" name="Rectangle 50">
              <a:extLst>
                <a:ext uri="{FF2B5EF4-FFF2-40B4-BE49-F238E27FC236}">
                  <a16:creationId xmlns:a16="http://schemas.microsoft.com/office/drawing/2014/main" id="{1D9BBDEB-221C-4741-9979-C335EE48F38E}"/>
                </a:ext>
              </a:extLst>
            </p:cNvPr>
            <p:cNvSpPr/>
            <p:nvPr/>
          </p:nvSpPr>
          <p:spPr>
            <a:xfrm>
              <a:off x="8659146" y="5750153"/>
              <a:ext cx="1620744" cy="799369"/>
            </a:xfrm>
            <a:prstGeom prst="rect">
              <a:avLst/>
            </a:prstGeom>
            <a:solidFill>
              <a:srgbClr val="F2C5C3">
                <a:alpha val="6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s-CO" sz="900" dirty="0">
                <a:solidFill>
                  <a:schemeClr val="tx1"/>
                </a:solidFill>
                <a:latin typeface="Arial" panose="020B0604020202020204" pitchFamily="34" charset="0"/>
                <a:cs typeface="Arial" panose="020B0604020202020204" pitchFamily="34" charset="0"/>
              </a:endParaRPr>
            </a:p>
          </p:txBody>
        </p:sp>
        <p:sp>
          <p:nvSpPr>
            <p:cNvPr id="57" name="Rectangle 56">
              <a:extLst>
                <a:ext uri="{FF2B5EF4-FFF2-40B4-BE49-F238E27FC236}">
                  <a16:creationId xmlns:a16="http://schemas.microsoft.com/office/drawing/2014/main" id="{394B82F5-6724-4183-9488-81BFE10400DC}"/>
                </a:ext>
              </a:extLst>
            </p:cNvPr>
            <p:cNvSpPr/>
            <p:nvPr/>
          </p:nvSpPr>
          <p:spPr>
            <a:xfrm>
              <a:off x="10402098" y="869749"/>
              <a:ext cx="1620744" cy="336885"/>
            </a:xfrm>
            <a:prstGeom prst="rect">
              <a:avLst/>
            </a:prstGeom>
            <a:solidFill>
              <a:srgbClr val="D4BFF8">
                <a:alpha val="6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s-CO" sz="900" dirty="0">
                <a:solidFill>
                  <a:schemeClr val="tx1"/>
                </a:solidFill>
                <a:latin typeface="Arial" panose="020B0604020202020204" pitchFamily="34" charset="0"/>
                <a:cs typeface="Arial" panose="020B0604020202020204" pitchFamily="34" charset="0"/>
              </a:endParaRPr>
            </a:p>
          </p:txBody>
        </p:sp>
        <p:sp>
          <p:nvSpPr>
            <p:cNvPr id="58" name="Rectangle 57">
              <a:extLst>
                <a:ext uri="{FF2B5EF4-FFF2-40B4-BE49-F238E27FC236}">
                  <a16:creationId xmlns:a16="http://schemas.microsoft.com/office/drawing/2014/main" id="{7091F8FD-E5CD-4924-8378-3090192AC734}"/>
                </a:ext>
              </a:extLst>
            </p:cNvPr>
            <p:cNvSpPr/>
            <p:nvPr/>
          </p:nvSpPr>
          <p:spPr>
            <a:xfrm>
              <a:off x="10402098" y="1322067"/>
              <a:ext cx="1620744" cy="551183"/>
            </a:xfrm>
            <a:prstGeom prst="rect">
              <a:avLst/>
            </a:prstGeom>
            <a:solidFill>
              <a:srgbClr val="A97FF0">
                <a:alpha val="6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s-CO" sz="900" dirty="0">
                <a:solidFill>
                  <a:schemeClr val="tx1"/>
                </a:solidFill>
                <a:latin typeface="Arial" panose="020B0604020202020204" pitchFamily="34" charset="0"/>
                <a:cs typeface="Arial" panose="020B0604020202020204" pitchFamily="34" charset="0"/>
              </a:endParaRPr>
            </a:p>
          </p:txBody>
        </p:sp>
        <p:sp>
          <p:nvSpPr>
            <p:cNvPr id="59" name="Rectangle 58">
              <a:extLst>
                <a:ext uri="{FF2B5EF4-FFF2-40B4-BE49-F238E27FC236}">
                  <a16:creationId xmlns:a16="http://schemas.microsoft.com/office/drawing/2014/main" id="{0DB6A865-BE08-424A-8AF5-34133796AE9C}"/>
                </a:ext>
              </a:extLst>
            </p:cNvPr>
            <p:cNvSpPr/>
            <p:nvPr/>
          </p:nvSpPr>
          <p:spPr>
            <a:xfrm>
              <a:off x="10402098" y="1969633"/>
              <a:ext cx="1620744" cy="551183"/>
            </a:xfrm>
            <a:prstGeom prst="rect">
              <a:avLst/>
            </a:prstGeom>
            <a:solidFill>
              <a:srgbClr val="7E40E9">
                <a:alpha val="6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s-CO" sz="900" dirty="0">
                <a:solidFill>
                  <a:schemeClr val="tx1"/>
                </a:solidFill>
                <a:latin typeface="Arial" panose="020B0604020202020204" pitchFamily="34" charset="0"/>
                <a:cs typeface="Arial" panose="020B0604020202020204" pitchFamily="34" charset="0"/>
              </a:endParaRPr>
            </a:p>
          </p:txBody>
        </p:sp>
        <p:sp>
          <p:nvSpPr>
            <p:cNvPr id="60" name="Rectangle 59">
              <a:extLst>
                <a:ext uri="{FF2B5EF4-FFF2-40B4-BE49-F238E27FC236}">
                  <a16:creationId xmlns:a16="http://schemas.microsoft.com/office/drawing/2014/main" id="{EC5A07DF-6C84-4BEF-99DD-7DA3EA2EF92E}"/>
                </a:ext>
              </a:extLst>
            </p:cNvPr>
            <p:cNvSpPr/>
            <p:nvPr/>
          </p:nvSpPr>
          <p:spPr>
            <a:xfrm>
              <a:off x="10402098" y="2617199"/>
              <a:ext cx="1620744" cy="551183"/>
            </a:xfrm>
            <a:prstGeom prst="rect">
              <a:avLst/>
            </a:prstGeom>
            <a:solidFill>
              <a:srgbClr val="EA3A55">
                <a:alpha val="6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s-CO" sz="900" dirty="0">
                <a:solidFill>
                  <a:schemeClr val="bg1"/>
                </a:solidFill>
                <a:latin typeface="Arial" panose="020B0604020202020204" pitchFamily="34" charset="0"/>
                <a:cs typeface="Arial" panose="020B0604020202020204" pitchFamily="34" charset="0"/>
              </a:endParaRPr>
            </a:p>
          </p:txBody>
        </p:sp>
        <p:sp>
          <p:nvSpPr>
            <p:cNvPr id="61" name="Rectangle 60">
              <a:extLst>
                <a:ext uri="{FF2B5EF4-FFF2-40B4-BE49-F238E27FC236}">
                  <a16:creationId xmlns:a16="http://schemas.microsoft.com/office/drawing/2014/main" id="{9E77B2A4-B4C4-4390-B8A5-64BC26B59ED0}"/>
                </a:ext>
              </a:extLst>
            </p:cNvPr>
            <p:cNvSpPr/>
            <p:nvPr/>
          </p:nvSpPr>
          <p:spPr>
            <a:xfrm>
              <a:off x="10402098" y="3264765"/>
              <a:ext cx="1620744" cy="551183"/>
            </a:xfrm>
            <a:prstGeom prst="rect">
              <a:avLst/>
            </a:prstGeom>
            <a:solidFill>
              <a:srgbClr val="5D18CE">
                <a:alpha val="6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s-CO" sz="900" dirty="0">
                <a:solidFill>
                  <a:schemeClr val="bg1"/>
                </a:solidFill>
                <a:latin typeface="Arial" panose="020B0604020202020204" pitchFamily="34" charset="0"/>
                <a:cs typeface="Arial" panose="020B0604020202020204" pitchFamily="34" charset="0"/>
              </a:endParaRPr>
            </a:p>
          </p:txBody>
        </p:sp>
        <p:sp>
          <p:nvSpPr>
            <p:cNvPr id="62" name="Rectangle 61">
              <a:extLst>
                <a:ext uri="{FF2B5EF4-FFF2-40B4-BE49-F238E27FC236}">
                  <a16:creationId xmlns:a16="http://schemas.microsoft.com/office/drawing/2014/main" id="{597EDDF8-FA18-450F-865A-640AB7C32852}"/>
                </a:ext>
              </a:extLst>
            </p:cNvPr>
            <p:cNvSpPr/>
            <p:nvPr/>
          </p:nvSpPr>
          <p:spPr>
            <a:xfrm>
              <a:off x="10402098" y="4831242"/>
              <a:ext cx="1620744" cy="799369"/>
            </a:xfrm>
            <a:prstGeom prst="rect">
              <a:avLst/>
            </a:prstGeom>
            <a:solidFill>
              <a:srgbClr val="EF5FA7">
                <a:alpha val="6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s-CO" sz="900" dirty="0">
                <a:solidFill>
                  <a:schemeClr val="tx1"/>
                </a:solidFill>
                <a:latin typeface="Arial" panose="020B0604020202020204" pitchFamily="34" charset="0"/>
                <a:cs typeface="Arial" panose="020B0604020202020204" pitchFamily="34" charset="0"/>
              </a:endParaRPr>
            </a:p>
          </p:txBody>
        </p:sp>
        <p:sp>
          <p:nvSpPr>
            <p:cNvPr id="63" name="Rectangle 62">
              <a:extLst>
                <a:ext uri="{FF2B5EF4-FFF2-40B4-BE49-F238E27FC236}">
                  <a16:creationId xmlns:a16="http://schemas.microsoft.com/office/drawing/2014/main" id="{39179F78-4E61-42BC-9B92-CDB193E490A5}"/>
                </a:ext>
              </a:extLst>
            </p:cNvPr>
            <p:cNvSpPr/>
            <p:nvPr/>
          </p:nvSpPr>
          <p:spPr>
            <a:xfrm>
              <a:off x="10402098" y="5750153"/>
              <a:ext cx="1620744" cy="799369"/>
            </a:xfrm>
            <a:prstGeom prst="rect">
              <a:avLst/>
            </a:prstGeom>
            <a:solidFill>
              <a:srgbClr val="F2C5C3">
                <a:alpha val="6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s-CO" sz="900" dirty="0">
                <a:solidFill>
                  <a:schemeClr val="tx1"/>
                </a:solidFill>
                <a:latin typeface="Arial" panose="020B0604020202020204" pitchFamily="34" charset="0"/>
                <a:cs typeface="Arial" panose="020B0604020202020204" pitchFamily="34" charset="0"/>
              </a:endParaRPr>
            </a:p>
          </p:txBody>
        </p:sp>
      </p:grpSp>
      <p:sp>
        <p:nvSpPr>
          <p:cNvPr id="14" name="Arrow: Right 13">
            <a:extLst>
              <a:ext uri="{FF2B5EF4-FFF2-40B4-BE49-F238E27FC236}">
                <a16:creationId xmlns:a16="http://schemas.microsoft.com/office/drawing/2014/main" id="{9187CEAE-8ECA-42DC-B83E-D7E14A7FE3F0}"/>
              </a:ext>
            </a:extLst>
          </p:cNvPr>
          <p:cNvSpPr/>
          <p:nvPr/>
        </p:nvSpPr>
        <p:spPr>
          <a:xfrm>
            <a:off x="1485543" y="884632"/>
            <a:ext cx="366434" cy="222451"/>
          </a:xfrm>
          <a:prstGeom prst="rightArrow">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s-CO" sz="1200" dirty="0">
              <a:solidFill>
                <a:schemeClr val="tx1"/>
              </a:solidFill>
            </a:endParaRPr>
          </a:p>
        </p:txBody>
      </p:sp>
      <p:sp>
        <p:nvSpPr>
          <p:cNvPr id="56" name="Arrow: Right 55">
            <a:extLst>
              <a:ext uri="{FF2B5EF4-FFF2-40B4-BE49-F238E27FC236}">
                <a16:creationId xmlns:a16="http://schemas.microsoft.com/office/drawing/2014/main" id="{8214B662-1AF3-4CC0-A536-D6A8FC01B193}"/>
              </a:ext>
            </a:extLst>
          </p:cNvPr>
          <p:cNvSpPr/>
          <p:nvPr/>
        </p:nvSpPr>
        <p:spPr>
          <a:xfrm>
            <a:off x="1485543" y="2038309"/>
            <a:ext cx="366434" cy="222451"/>
          </a:xfrm>
          <a:prstGeom prst="rightArrow">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s-CO" sz="1200" dirty="0">
              <a:solidFill>
                <a:schemeClr val="tx1"/>
              </a:solidFill>
            </a:endParaRPr>
          </a:p>
        </p:txBody>
      </p:sp>
      <p:sp>
        <p:nvSpPr>
          <p:cNvPr id="64" name="Arrow: Right 63">
            <a:extLst>
              <a:ext uri="{FF2B5EF4-FFF2-40B4-BE49-F238E27FC236}">
                <a16:creationId xmlns:a16="http://schemas.microsoft.com/office/drawing/2014/main" id="{CC23A16D-77B6-4FA0-9EC3-2F02B8E9720E}"/>
              </a:ext>
            </a:extLst>
          </p:cNvPr>
          <p:cNvSpPr/>
          <p:nvPr/>
        </p:nvSpPr>
        <p:spPr>
          <a:xfrm>
            <a:off x="1480059" y="2719467"/>
            <a:ext cx="366434" cy="222451"/>
          </a:xfrm>
          <a:prstGeom prst="rightArrow">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s-CO" sz="1200" dirty="0">
              <a:solidFill>
                <a:schemeClr val="tx1"/>
              </a:solidFill>
            </a:endParaRPr>
          </a:p>
        </p:txBody>
      </p:sp>
      <p:sp>
        <p:nvSpPr>
          <p:cNvPr id="65" name="Arrow: Right 64">
            <a:extLst>
              <a:ext uri="{FF2B5EF4-FFF2-40B4-BE49-F238E27FC236}">
                <a16:creationId xmlns:a16="http://schemas.microsoft.com/office/drawing/2014/main" id="{3D5F1061-E9CA-4D02-B600-56C772D9F61A}"/>
              </a:ext>
            </a:extLst>
          </p:cNvPr>
          <p:cNvSpPr/>
          <p:nvPr/>
        </p:nvSpPr>
        <p:spPr>
          <a:xfrm>
            <a:off x="1480059" y="4066794"/>
            <a:ext cx="366434" cy="222451"/>
          </a:xfrm>
          <a:prstGeom prst="rightArrow">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s-CO" sz="1200" dirty="0">
              <a:solidFill>
                <a:schemeClr val="tx1"/>
              </a:solidFill>
            </a:endParaRPr>
          </a:p>
        </p:txBody>
      </p:sp>
      <p:sp>
        <p:nvSpPr>
          <p:cNvPr id="66" name="Arrow: Right 65">
            <a:extLst>
              <a:ext uri="{FF2B5EF4-FFF2-40B4-BE49-F238E27FC236}">
                <a16:creationId xmlns:a16="http://schemas.microsoft.com/office/drawing/2014/main" id="{FAE517C8-F6C0-486E-B028-3134D794D04A}"/>
              </a:ext>
            </a:extLst>
          </p:cNvPr>
          <p:cNvSpPr/>
          <p:nvPr/>
        </p:nvSpPr>
        <p:spPr>
          <a:xfrm>
            <a:off x="1480059" y="5996278"/>
            <a:ext cx="366434" cy="222451"/>
          </a:xfrm>
          <a:prstGeom prst="rightArrow">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s-CO" sz="1200" dirty="0">
              <a:solidFill>
                <a:schemeClr val="tx1"/>
              </a:solidFill>
            </a:endParaRPr>
          </a:p>
        </p:txBody>
      </p:sp>
    </p:spTree>
    <p:extLst>
      <p:ext uri="{BB962C8B-B14F-4D97-AF65-F5344CB8AC3E}">
        <p14:creationId xmlns:p14="http://schemas.microsoft.com/office/powerpoint/2010/main" val="236752997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F3692B0D-82AC-41A6-A5BD-1A4B9AC9B985}"/>
              </a:ext>
            </a:extLst>
          </p:cNvPr>
          <p:cNvSpPr txBox="1"/>
          <p:nvPr/>
        </p:nvSpPr>
        <p:spPr>
          <a:xfrm>
            <a:off x="486611" y="1437319"/>
            <a:ext cx="11218778" cy="4744312"/>
          </a:xfrm>
          <a:prstGeom prst="rect">
            <a:avLst/>
          </a:prstGeom>
          <a:noFill/>
        </p:spPr>
        <p:txBody>
          <a:bodyPr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en-GB" sz="2400" b="1" dirty="0" err="1">
                <a:solidFill>
                  <a:schemeClr val="bg1"/>
                </a:solidFill>
                <a:latin typeface="Arial" panose="020B0604020202020204" pitchFamily="34" charset="0"/>
                <a:cs typeface="Arial" panose="020B0604020202020204" pitchFamily="34" charset="0"/>
              </a:rPr>
              <a:t>Fecha</a:t>
            </a:r>
            <a:r>
              <a:rPr lang="en-GB" sz="2400" b="1" dirty="0">
                <a:solidFill>
                  <a:schemeClr val="bg1"/>
                </a:solidFill>
                <a:latin typeface="Arial" panose="020B0604020202020204" pitchFamily="34" charset="0"/>
                <a:cs typeface="Arial" panose="020B0604020202020204" pitchFamily="34" charset="0"/>
              </a:rPr>
              <a:t> de </a:t>
            </a:r>
            <a:r>
              <a:rPr lang="en-GB" sz="2400" b="1" dirty="0" err="1">
                <a:solidFill>
                  <a:schemeClr val="bg1"/>
                </a:solidFill>
                <a:latin typeface="Arial" panose="020B0604020202020204" pitchFamily="34" charset="0"/>
                <a:cs typeface="Arial" panose="020B0604020202020204" pitchFamily="34" charset="0"/>
              </a:rPr>
              <a:t>entrega</a:t>
            </a:r>
            <a:r>
              <a:rPr lang="en-GB" sz="2400" b="1" dirty="0">
                <a:solidFill>
                  <a:schemeClr val="bg1"/>
                </a:solidFill>
                <a:latin typeface="Arial" panose="020B0604020202020204" pitchFamily="34" charset="0"/>
                <a:cs typeface="Arial" panose="020B0604020202020204" pitchFamily="34" charset="0"/>
              </a:rPr>
              <a:t>: </a:t>
            </a:r>
            <a:r>
              <a:rPr lang="en-GB" sz="2400" b="1" dirty="0">
                <a:solidFill>
                  <a:schemeClr val="bg1"/>
                </a:solidFill>
                <a:highlight>
                  <a:srgbClr val="EA3A55"/>
                </a:highlight>
                <a:latin typeface="Arial" panose="020B0604020202020204" pitchFamily="34" charset="0"/>
                <a:cs typeface="Arial" panose="020B0604020202020204" pitchFamily="34" charset="0"/>
              </a:rPr>
              <a:t>Lunes 18 de </a:t>
            </a:r>
            <a:r>
              <a:rPr lang="en-GB" sz="2400" b="1" dirty="0" err="1">
                <a:solidFill>
                  <a:schemeClr val="bg1"/>
                </a:solidFill>
                <a:highlight>
                  <a:srgbClr val="EA3A55"/>
                </a:highlight>
                <a:latin typeface="Arial" panose="020B0604020202020204" pitchFamily="34" charset="0"/>
                <a:cs typeface="Arial" panose="020B0604020202020204" pitchFamily="34" charset="0"/>
              </a:rPr>
              <a:t>abril</a:t>
            </a:r>
            <a:endParaRPr lang="en-GB" sz="2400" b="1" dirty="0">
              <a:solidFill>
                <a:schemeClr val="bg1"/>
              </a:solidFill>
              <a:highlight>
                <a:srgbClr val="EA3A55"/>
              </a:highlight>
              <a:latin typeface="Arial" panose="020B0604020202020204" pitchFamily="34" charset="0"/>
              <a:cs typeface="Arial" panose="020B0604020202020204" pitchFamily="34" charset="0"/>
            </a:endParaRPr>
          </a:p>
          <a:p>
            <a:pPr marL="342900" marR="0" lvl="0" indent="-34290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GB" sz="2000" dirty="0">
                <a:solidFill>
                  <a:schemeClr val="bg1"/>
                </a:solidFill>
                <a:latin typeface="Arial" panose="020B0604020202020204" pitchFamily="34" charset="0"/>
                <a:cs typeface="Arial" panose="020B0604020202020204" pitchFamily="34" charset="0"/>
              </a:rPr>
              <a:t>Una de las </a:t>
            </a:r>
            <a:r>
              <a:rPr lang="en-GB" sz="2000" dirty="0" err="1">
                <a:solidFill>
                  <a:schemeClr val="bg1"/>
                </a:solidFill>
                <a:latin typeface="Arial" panose="020B0604020202020204" pitchFamily="34" charset="0"/>
                <a:cs typeface="Arial" panose="020B0604020202020204" pitchFamily="34" charset="0"/>
              </a:rPr>
              <a:t>integrantes</a:t>
            </a:r>
            <a:r>
              <a:rPr lang="en-GB" sz="2000" dirty="0">
                <a:solidFill>
                  <a:schemeClr val="bg1"/>
                </a:solidFill>
                <a:latin typeface="Arial" panose="020B0604020202020204" pitchFamily="34" charset="0"/>
                <a:cs typeface="Arial" panose="020B0604020202020204" pitchFamily="34" charset="0"/>
              </a:rPr>
              <a:t> del </a:t>
            </a:r>
            <a:r>
              <a:rPr lang="en-GB" sz="2000" dirty="0" err="1">
                <a:solidFill>
                  <a:schemeClr val="bg1"/>
                </a:solidFill>
                <a:latin typeface="Arial" panose="020B0604020202020204" pitchFamily="34" charset="0"/>
                <a:cs typeface="Arial" panose="020B0604020202020204" pitchFamily="34" charset="0"/>
              </a:rPr>
              <a:t>grupo</a:t>
            </a:r>
            <a:r>
              <a:rPr lang="en-GB" sz="2000" dirty="0">
                <a:solidFill>
                  <a:schemeClr val="bg1"/>
                </a:solidFill>
                <a:latin typeface="Arial" panose="020B0604020202020204" pitchFamily="34" charset="0"/>
                <a:cs typeface="Arial" panose="020B0604020202020204" pitchFamily="34" charset="0"/>
              </a:rPr>
              <a:t> </a:t>
            </a:r>
            <a:r>
              <a:rPr lang="en-GB" sz="2000" dirty="0" err="1">
                <a:solidFill>
                  <a:schemeClr val="bg1"/>
                </a:solidFill>
                <a:latin typeface="Arial" panose="020B0604020202020204" pitchFamily="34" charset="0"/>
                <a:cs typeface="Arial" panose="020B0604020202020204" pitchFamily="34" charset="0"/>
              </a:rPr>
              <a:t>deberá</a:t>
            </a:r>
            <a:r>
              <a:rPr lang="en-GB" sz="2000" dirty="0">
                <a:solidFill>
                  <a:schemeClr val="bg1"/>
                </a:solidFill>
                <a:latin typeface="Arial" panose="020B0604020202020204" pitchFamily="34" charset="0"/>
                <a:cs typeface="Arial" panose="020B0604020202020204" pitchFamily="34" charset="0"/>
              </a:rPr>
              <a:t> </a:t>
            </a:r>
            <a:r>
              <a:rPr lang="en-GB" sz="2000" dirty="0" err="1">
                <a:solidFill>
                  <a:schemeClr val="bg1"/>
                </a:solidFill>
                <a:latin typeface="Arial" panose="020B0604020202020204" pitchFamily="34" charset="0"/>
                <a:cs typeface="Arial" panose="020B0604020202020204" pitchFamily="34" charset="0"/>
              </a:rPr>
              <a:t>subir</a:t>
            </a:r>
            <a:r>
              <a:rPr lang="en-GB" sz="2000" dirty="0">
                <a:solidFill>
                  <a:schemeClr val="bg1"/>
                </a:solidFill>
                <a:latin typeface="Arial" panose="020B0604020202020204" pitchFamily="34" charset="0"/>
                <a:cs typeface="Arial" panose="020B0604020202020204" pitchFamily="34" charset="0"/>
              </a:rPr>
              <a:t> el </a:t>
            </a:r>
            <a:r>
              <a:rPr lang="en-GB" sz="2000" dirty="0" err="1">
                <a:solidFill>
                  <a:schemeClr val="bg1"/>
                </a:solidFill>
                <a:latin typeface="Arial" panose="020B0604020202020204" pitchFamily="34" charset="0"/>
                <a:cs typeface="Arial" panose="020B0604020202020204" pitchFamily="34" charset="0"/>
              </a:rPr>
              <a:t>archivo</a:t>
            </a:r>
            <a:r>
              <a:rPr lang="en-GB" sz="2000" dirty="0">
                <a:solidFill>
                  <a:schemeClr val="bg1"/>
                </a:solidFill>
                <a:latin typeface="Arial" panose="020B0604020202020204" pitchFamily="34" charset="0"/>
                <a:cs typeface="Arial" panose="020B0604020202020204" pitchFamily="34" charset="0"/>
              </a:rPr>
              <a:t> a la Academia </a:t>
            </a:r>
            <a:r>
              <a:rPr lang="en-GB" sz="2000" dirty="0" err="1">
                <a:solidFill>
                  <a:schemeClr val="bg1"/>
                </a:solidFill>
                <a:latin typeface="Arial" panose="020B0604020202020204" pitchFamily="34" charset="0"/>
                <a:cs typeface="Arial" panose="020B0604020202020204" pitchFamily="34" charset="0"/>
              </a:rPr>
              <a:t>ConnectAmericas</a:t>
            </a:r>
            <a:r>
              <a:rPr lang="en-GB" sz="2000" dirty="0">
                <a:solidFill>
                  <a:schemeClr val="bg1"/>
                </a:solidFill>
                <a:latin typeface="Arial" panose="020B0604020202020204" pitchFamily="34" charset="0"/>
                <a:cs typeface="Arial" panose="020B0604020202020204" pitchFamily="34" charset="0"/>
              </a:rPr>
              <a:t> </a:t>
            </a:r>
            <a:r>
              <a:rPr lang="en-GB" sz="2000" dirty="0" err="1">
                <a:solidFill>
                  <a:schemeClr val="bg1"/>
                </a:solidFill>
                <a:latin typeface="Arial" panose="020B0604020202020204" pitchFamily="34" charset="0"/>
                <a:cs typeface="Arial" panose="020B0604020202020204" pitchFamily="34" charset="0"/>
              </a:rPr>
              <a:t>en</a:t>
            </a:r>
            <a:r>
              <a:rPr lang="en-GB" sz="2000" dirty="0">
                <a:solidFill>
                  <a:schemeClr val="bg1"/>
                </a:solidFill>
                <a:latin typeface="Arial" panose="020B0604020202020204" pitchFamily="34" charset="0"/>
                <a:cs typeface="Arial" panose="020B0604020202020204" pitchFamily="34" charset="0"/>
              </a:rPr>
              <a:t> la </a:t>
            </a:r>
            <a:r>
              <a:rPr lang="en-GB" sz="2000" dirty="0" err="1">
                <a:solidFill>
                  <a:schemeClr val="bg1"/>
                </a:solidFill>
                <a:latin typeface="Arial" panose="020B0604020202020204" pitchFamily="34" charset="0"/>
                <a:cs typeface="Arial" panose="020B0604020202020204" pitchFamily="34" charset="0"/>
              </a:rPr>
              <a:t>siguiente</a:t>
            </a:r>
            <a:r>
              <a:rPr lang="en-GB" sz="2000" dirty="0">
                <a:solidFill>
                  <a:schemeClr val="bg1"/>
                </a:solidFill>
                <a:latin typeface="Arial" panose="020B0604020202020204" pitchFamily="34" charset="0"/>
                <a:cs typeface="Arial" panose="020B0604020202020204" pitchFamily="34" charset="0"/>
              </a:rPr>
              <a:t> </a:t>
            </a:r>
            <a:r>
              <a:rPr lang="en-GB" sz="2000" dirty="0" err="1">
                <a:solidFill>
                  <a:schemeClr val="bg1"/>
                </a:solidFill>
                <a:latin typeface="Arial" panose="020B0604020202020204" pitchFamily="34" charset="0"/>
                <a:cs typeface="Arial" panose="020B0604020202020204" pitchFamily="34" charset="0"/>
              </a:rPr>
              <a:t>ruta</a:t>
            </a:r>
            <a:r>
              <a:rPr lang="en-GB" sz="2000" dirty="0">
                <a:solidFill>
                  <a:schemeClr val="bg1"/>
                </a:solidFill>
                <a:latin typeface="Arial" panose="020B0604020202020204" pitchFamily="34" charset="0"/>
                <a:cs typeface="Arial" panose="020B0604020202020204" pitchFamily="34" charset="0"/>
              </a:rPr>
              <a:t>: </a:t>
            </a:r>
            <a:r>
              <a:rPr lang="en-GB" sz="2000" b="1" u="sng" dirty="0">
                <a:solidFill>
                  <a:schemeClr val="accent4">
                    <a:lumMod val="40000"/>
                    <a:lumOff val="60000"/>
                  </a:schemeClr>
                </a:solidFill>
                <a:latin typeface="Arial" panose="020B0604020202020204" pitchFamily="34" charset="0"/>
                <a:cs typeface="Arial" panose="020B0604020202020204" pitchFamily="34" charset="0"/>
              </a:rPr>
              <a:t>Academia </a:t>
            </a:r>
            <a:r>
              <a:rPr lang="en-GB" sz="2000" b="1" u="sng" dirty="0" err="1">
                <a:solidFill>
                  <a:schemeClr val="accent4">
                    <a:lumMod val="40000"/>
                    <a:lumOff val="60000"/>
                  </a:schemeClr>
                </a:solidFill>
                <a:latin typeface="Arial" panose="020B0604020202020204" pitchFamily="34" charset="0"/>
                <a:cs typeface="Arial" panose="020B0604020202020204" pitchFamily="34" charset="0"/>
              </a:rPr>
              <a:t>ConnectAmericas</a:t>
            </a:r>
            <a:r>
              <a:rPr lang="en-GB" sz="2000" b="1" u="sng" dirty="0">
                <a:solidFill>
                  <a:schemeClr val="accent4">
                    <a:lumMod val="40000"/>
                    <a:lumOff val="60000"/>
                  </a:schemeClr>
                </a:solidFill>
                <a:latin typeface="Arial" panose="020B0604020202020204" pitchFamily="34" charset="0"/>
                <a:cs typeface="Arial" panose="020B0604020202020204" pitchFamily="34" charset="0"/>
              </a:rPr>
              <a:t> – </a:t>
            </a:r>
            <a:r>
              <a:rPr lang="en-GB" sz="2000" b="1" u="sng" dirty="0" err="1">
                <a:solidFill>
                  <a:schemeClr val="accent4">
                    <a:lumMod val="40000"/>
                    <a:lumOff val="60000"/>
                  </a:schemeClr>
                </a:solidFill>
                <a:latin typeface="Arial" panose="020B0604020202020204" pitchFamily="34" charset="0"/>
                <a:cs typeface="Arial" panose="020B0604020202020204" pitchFamily="34" charset="0"/>
              </a:rPr>
              <a:t>Tema</a:t>
            </a:r>
            <a:r>
              <a:rPr lang="en-GB" sz="2000" b="1" u="sng" dirty="0">
                <a:solidFill>
                  <a:schemeClr val="accent4">
                    <a:lumMod val="40000"/>
                    <a:lumOff val="60000"/>
                  </a:schemeClr>
                </a:solidFill>
                <a:latin typeface="Arial" panose="020B0604020202020204" pitchFamily="34" charset="0"/>
                <a:cs typeface="Arial" panose="020B0604020202020204" pitchFamily="34" charset="0"/>
              </a:rPr>
              <a:t> 2 </a:t>
            </a:r>
            <a:r>
              <a:rPr lang="en-GB" sz="2000" b="1" u="sng" dirty="0" err="1">
                <a:solidFill>
                  <a:schemeClr val="accent4">
                    <a:lumMod val="40000"/>
                    <a:lumOff val="60000"/>
                  </a:schemeClr>
                </a:solidFill>
                <a:latin typeface="Arial" panose="020B0604020202020204" pitchFamily="34" charset="0"/>
                <a:cs typeface="Arial" panose="020B0604020202020204" pitchFamily="34" charset="0"/>
              </a:rPr>
              <a:t>Experiencia</a:t>
            </a:r>
            <a:r>
              <a:rPr lang="en-GB" sz="2000" b="1" u="sng" dirty="0">
                <a:solidFill>
                  <a:schemeClr val="accent4">
                    <a:lumMod val="40000"/>
                    <a:lumOff val="60000"/>
                  </a:schemeClr>
                </a:solidFill>
                <a:latin typeface="Arial" panose="020B0604020202020204" pitchFamily="34" charset="0"/>
                <a:cs typeface="Arial" panose="020B0604020202020204" pitchFamily="34" charset="0"/>
              </a:rPr>
              <a:t> de </a:t>
            </a:r>
            <a:r>
              <a:rPr lang="en-GB" sz="2000" b="1" u="sng" dirty="0" err="1">
                <a:solidFill>
                  <a:schemeClr val="accent4">
                    <a:lumMod val="40000"/>
                    <a:lumOff val="60000"/>
                  </a:schemeClr>
                </a:solidFill>
                <a:latin typeface="Arial" panose="020B0604020202020204" pitchFamily="34" charset="0"/>
                <a:cs typeface="Arial" panose="020B0604020202020204" pitchFamily="34" charset="0"/>
              </a:rPr>
              <a:t>usuario</a:t>
            </a:r>
            <a:r>
              <a:rPr lang="en-GB" sz="2000" b="1" u="sng" dirty="0">
                <a:solidFill>
                  <a:schemeClr val="accent4">
                    <a:lumMod val="40000"/>
                    <a:lumOff val="60000"/>
                  </a:schemeClr>
                </a:solidFill>
                <a:latin typeface="Arial" panose="020B0604020202020204" pitchFamily="34" charset="0"/>
                <a:cs typeface="Arial" panose="020B0604020202020204" pitchFamily="34" charset="0"/>
              </a:rPr>
              <a:t> – </a:t>
            </a:r>
            <a:r>
              <a:rPr lang="en-GB" sz="2000" b="1" u="sng" dirty="0" err="1">
                <a:solidFill>
                  <a:schemeClr val="accent4">
                    <a:lumMod val="40000"/>
                    <a:lumOff val="60000"/>
                  </a:schemeClr>
                </a:solidFill>
                <a:latin typeface="Arial" panose="020B0604020202020204" pitchFamily="34" charset="0"/>
                <a:cs typeface="Arial" panose="020B0604020202020204" pitchFamily="34" charset="0"/>
              </a:rPr>
              <a:t>Clase</a:t>
            </a:r>
            <a:r>
              <a:rPr lang="en-GB" sz="2000" b="1" u="sng" dirty="0">
                <a:solidFill>
                  <a:schemeClr val="accent4">
                    <a:lumMod val="40000"/>
                    <a:lumOff val="60000"/>
                  </a:schemeClr>
                </a:solidFill>
                <a:latin typeface="Arial" panose="020B0604020202020204" pitchFamily="34" charset="0"/>
                <a:cs typeface="Arial" panose="020B0604020202020204" pitchFamily="34" charset="0"/>
              </a:rPr>
              <a:t> 3 </a:t>
            </a:r>
            <a:r>
              <a:rPr lang="en-GB" sz="2000" b="1" u="sng" dirty="0" err="1">
                <a:solidFill>
                  <a:schemeClr val="accent4">
                    <a:lumMod val="40000"/>
                    <a:lumOff val="60000"/>
                  </a:schemeClr>
                </a:solidFill>
                <a:latin typeface="Arial" panose="020B0604020202020204" pitchFamily="34" charset="0"/>
                <a:cs typeface="Arial" panose="020B0604020202020204" pitchFamily="34" charset="0"/>
              </a:rPr>
              <a:t>Transformación</a:t>
            </a:r>
            <a:r>
              <a:rPr lang="en-GB" sz="2000" b="1" u="sng" dirty="0">
                <a:solidFill>
                  <a:schemeClr val="accent4">
                    <a:lumMod val="40000"/>
                    <a:lumOff val="60000"/>
                  </a:schemeClr>
                </a:solidFill>
                <a:latin typeface="Arial" panose="020B0604020202020204" pitchFamily="34" charset="0"/>
                <a:cs typeface="Arial" panose="020B0604020202020204" pitchFamily="34" charset="0"/>
              </a:rPr>
              <a:t> – </a:t>
            </a:r>
            <a:r>
              <a:rPr lang="en-GB" sz="2000" b="1" u="sng" dirty="0" err="1">
                <a:solidFill>
                  <a:schemeClr val="accent4">
                    <a:lumMod val="40000"/>
                    <a:lumOff val="60000"/>
                  </a:schemeClr>
                </a:solidFill>
                <a:latin typeface="Arial" panose="020B0604020202020204" pitchFamily="34" charset="0"/>
                <a:cs typeface="Arial" panose="020B0604020202020204" pitchFamily="34" charset="0"/>
              </a:rPr>
              <a:t>Reto</a:t>
            </a:r>
            <a:r>
              <a:rPr lang="en-GB" sz="2000" b="1" u="sng" dirty="0">
                <a:solidFill>
                  <a:schemeClr val="accent4">
                    <a:lumMod val="40000"/>
                    <a:lumOff val="60000"/>
                  </a:schemeClr>
                </a:solidFill>
                <a:latin typeface="Arial" panose="020B0604020202020204" pitchFamily="34" charset="0"/>
                <a:cs typeface="Arial" panose="020B0604020202020204" pitchFamily="34" charset="0"/>
              </a:rPr>
              <a:t> </a:t>
            </a:r>
            <a:r>
              <a:rPr lang="en-GB" sz="2000" b="1" u="sng" dirty="0" err="1">
                <a:solidFill>
                  <a:schemeClr val="accent4">
                    <a:lumMod val="40000"/>
                    <a:lumOff val="60000"/>
                  </a:schemeClr>
                </a:solidFill>
                <a:latin typeface="Arial" panose="020B0604020202020204" pitchFamily="34" charset="0"/>
                <a:cs typeface="Arial" panose="020B0604020202020204" pitchFamily="34" charset="0"/>
              </a:rPr>
              <a:t>grupal</a:t>
            </a:r>
            <a:endParaRPr lang="en-GB" sz="2000" b="1" u="sng" dirty="0">
              <a:solidFill>
                <a:schemeClr val="accent4">
                  <a:lumMod val="40000"/>
                  <a:lumOff val="60000"/>
                </a:schemeClr>
              </a:solidFill>
              <a:latin typeface="Arial" panose="020B0604020202020204" pitchFamily="34" charset="0"/>
              <a:cs typeface="Arial" panose="020B0604020202020204" pitchFamily="34" charset="0"/>
            </a:endParaRPr>
          </a:p>
          <a:p>
            <a:pPr marL="342900" marR="0" lvl="0" indent="-34290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GB" sz="2000" dirty="0" err="1">
                <a:solidFill>
                  <a:schemeClr val="bg1"/>
                </a:solidFill>
                <a:latin typeface="Arial" panose="020B0604020202020204" pitchFamily="34" charset="0"/>
                <a:cs typeface="Arial" panose="020B0604020202020204" pitchFamily="34" charset="0"/>
              </a:rPr>
              <a:t>Pueden</a:t>
            </a:r>
            <a:r>
              <a:rPr lang="en-GB" sz="2000" dirty="0">
                <a:solidFill>
                  <a:schemeClr val="bg1"/>
                </a:solidFill>
                <a:latin typeface="Arial" panose="020B0604020202020204" pitchFamily="34" charset="0"/>
                <a:cs typeface="Arial" panose="020B0604020202020204" pitchFamily="34" charset="0"/>
              </a:rPr>
              <a:t> </a:t>
            </a:r>
            <a:r>
              <a:rPr lang="en-GB" sz="2000" dirty="0" err="1">
                <a:solidFill>
                  <a:schemeClr val="bg1"/>
                </a:solidFill>
                <a:latin typeface="Arial" panose="020B0604020202020204" pitchFamily="34" charset="0"/>
                <a:cs typeface="Arial" panose="020B0604020202020204" pitchFamily="34" charset="0"/>
              </a:rPr>
              <a:t>cargar</a:t>
            </a:r>
            <a:r>
              <a:rPr lang="en-GB" sz="2000" dirty="0">
                <a:solidFill>
                  <a:schemeClr val="bg1"/>
                </a:solidFill>
                <a:latin typeface="Arial" panose="020B0604020202020204" pitchFamily="34" charset="0"/>
                <a:cs typeface="Arial" panose="020B0604020202020204" pitchFamily="34" charset="0"/>
              </a:rPr>
              <a:t> </a:t>
            </a:r>
            <a:r>
              <a:rPr lang="en-GB" sz="2000" dirty="0" err="1">
                <a:solidFill>
                  <a:schemeClr val="bg1"/>
                </a:solidFill>
                <a:latin typeface="Arial" panose="020B0604020202020204" pitchFamily="34" charset="0"/>
                <a:cs typeface="Arial" panose="020B0604020202020204" pitchFamily="34" charset="0"/>
              </a:rPr>
              <a:t>archivos</a:t>
            </a:r>
            <a:r>
              <a:rPr lang="en-GB" sz="2000" dirty="0">
                <a:solidFill>
                  <a:schemeClr val="bg1"/>
                </a:solidFill>
                <a:latin typeface="Arial" panose="020B0604020202020204" pitchFamily="34" charset="0"/>
                <a:cs typeface="Arial" panose="020B0604020202020204" pitchFamily="34" charset="0"/>
              </a:rPr>
              <a:t> </a:t>
            </a:r>
            <a:r>
              <a:rPr lang="en-GB" sz="2000" dirty="0" err="1">
                <a:solidFill>
                  <a:schemeClr val="bg1"/>
                </a:solidFill>
                <a:latin typeface="Arial" panose="020B0604020202020204" pitchFamily="34" charset="0"/>
                <a:cs typeface="Arial" panose="020B0604020202020204" pitchFamily="34" charset="0"/>
              </a:rPr>
              <a:t>en</a:t>
            </a:r>
            <a:r>
              <a:rPr lang="en-GB" sz="2000" dirty="0">
                <a:solidFill>
                  <a:schemeClr val="bg1"/>
                </a:solidFill>
                <a:latin typeface="Arial" panose="020B0604020202020204" pitchFamily="34" charset="0"/>
                <a:cs typeface="Arial" panose="020B0604020202020204" pitchFamily="34" charset="0"/>
              </a:rPr>
              <a:t> </a:t>
            </a:r>
            <a:r>
              <a:rPr lang="en-GB" sz="2000" dirty="0" err="1">
                <a:solidFill>
                  <a:schemeClr val="bg1"/>
                </a:solidFill>
                <a:latin typeface="Arial" panose="020B0604020202020204" pitchFamily="34" charset="0"/>
                <a:cs typeface="Arial" panose="020B0604020202020204" pitchFamily="34" charset="0"/>
              </a:rPr>
              <a:t>formato</a:t>
            </a:r>
            <a:r>
              <a:rPr lang="en-GB" sz="2000" dirty="0">
                <a:solidFill>
                  <a:schemeClr val="bg1"/>
                </a:solidFill>
                <a:latin typeface="Arial" panose="020B0604020202020204" pitchFamily="34" charset="0"/>
                <a:cs typeface="Arial" panose="020B0604020202020204" pitchFamily="34" charset="0"/>
              </a:rPr>
              <a:t> PDF, </a:t>
            </a:r>
            <a:r>
              <a:rPr lang="en-GB" sz="2000" dirty="0" err="1">
                <a:solidFill>
                  <a:schemeClr val="bg1"/>
                </a:solidFill>
                <a:latin typeface="Arial" panose="020B0604020202020204" pitchFamily="34" charset="0"/>
                <a:cs typeface="Arial" panose="020B0604020202020204" pitchFamily="34" charset="0"/>
              </a:rPr>
              <a:t>Powerpoint</a:t>
            </a:r>
            <a:r>
              <a:rPr lang="en-GB" sz="2000" dirty="0">
                <a:solidFill>
                  <a:schemeClr val="bg1"/>
                </a:solidFill>
                <a:latin typeface="Arial" panose="020B0604020202020204" pitchFamily="34" charset="0"/>
                <a:cs typeface="Arial" panose="020B0604020202020204" pitchFamily="34" charset="0"/>
              </a:rPr>
              <a:t>, Word, Excel, </a:t>
            </a:r>
            <a:r>
              <a:rPr lang="en-GB" sz="2000" dirty="0" err="1">
                <a:solidFill>
                  <a:schemeClr val="bg1"/>
                </a:solidFill>
                <a:latin typeface="Arial" panose="020B0604020202020204" pitchFamily="34" charset="0"/>
                <a:cs typeface="Arial" panose="020B0604020202020204" pitchFamily="34" charset="0"/>
              </a:rPr>
              <a:t>Imagenes</a:t>
            </a:r>
            <a:r>
              <a:rPr lang="en-GB" sz="2000" dirty="0">
                <a:solidFill>
                  <a:schemeClr val="bg1"/>
                </a:solidFill>
                <a:latin typeface="Arial" panose="020B0604020202020204" pitchFamily="34" charset="0"/>
                <a:cs typeface="Arial" panose="020B0604020202020204" pitchFamily="34" charset="0"/>
              </a:rPr>
              <a:t> (PNG,JPG), entre </a:t>
            </a:r>
            <a:r>
              <a:rPr lang="en-GB" sz="2000" dirty="0" err="1">
                <a:solidFill>
                  <a:schemeClr val="bg1"/>
                </a:solidFill>
                <a:latin typeface="Arial" panose="020B0604020202020204" pitchFamily="34" charset="0"/>
                <a:cs typeface="Arial" panose="020B0604020202020204" pitchFamily="34" charset="0"/>
              </a:rPr>
              <a:t>otros</a:t>
            </a:r>
            <a:r>
              <a:rPr lang="en-GB" sz="2000" dirty="0">
                <a:solidFill>
                  <a:schemeClr val="bg1"/>
                </a:solidFill>
                <a:latin typeface="Arial" panose="020B0604020202020204" pitchFamily="34" charset="0"/>
                <a:cs typeface="Arial" panose="020B0604020202020204" pitchFamily="34" charset="0"/>
              </a:rPr>
              <a:t>. </a:t>
            </a:r>
          </a:p>
          <a:p>
            <a:pPr marL="342900" marR="0" lvl="0" indent="-34290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GB" sz="2000" dirty="0">
                <a:solidFill>
                  <a:schemeClr val="bg1"/>
                </a:solidFill>
                <a:latin typeface="Arial" panose="020B0604020202020204" pitchFamily="34" charset="0"/>
                <a:cs typeface="Arial" panose="020B0604020202020204" pitchFamily="34" charset="0"/>
              </a:rPr>
              <a:t>Si </a:t>
            </a:r>
            <a:r>
              <a:rPr lang="en-GB" sz="2000" dirty="0" err="1">
                <a:solidFill>
                  <a:schemeClr val="bg1"/>
                </a:solidFill>
                <a:latin typeface="Arial" panose="020B0604020202020204" pitchFamily="34" charset="0"/>
                <a:cs typeface="Arial" panose="020B0604020202020204" pitchFamily="34" charset="0"/>
              </a:rPr>
              <a:t>desarrollan</a:t>
            </a:r>
            <a:r>
              <a:rPr lang="en-GB" sz="2000" dirty="0">
                <a:solidFill>
                  <a:schemeClr val="bg1"/>
                </a:solidFill>
                <a:latin typeface="Arial" panose="020B0604020202020204" pitchFamily="34" charset="0"/>
                <a:cs typeface="Arial" panose="020B0604020202020204" pitchFamily="34" charset="0"/>
              </a:rPr>
              <a:t> el </a:t>
            </a:r>
            <a:r>
              <a:rPr lang="en-GB" sz="2000" dirty="0" err="1">
                <a:solidFill>
                  <a:schemeClr val="bg1"/>
                </a:solidFill>
                <a:latin typeface="Arial" panose="020B0604020202020204" pitchFamily="34" charset="0"/>
                <a:cs typeface="Arial" panose="020B0604020202020204" pitchFamily="34" charset="0"/>
              </a:rPr>
              <a:t>ejercicio</a:t>
            </a:r>
            <a:r>
              <a:rPr lang="en-GB" sz="2000" dirty="0">
                <a:solidFill>
                  <a:schemeClr val="bg1"/>
                </a:solidFill>
                <a:latin typeface="Arial" panose="020B0604020202020204" pitchFamily="34" charset="0"/>
                <a:cs typeface="Arial" panose="020B0604020202020204" pitchFamily="34" charset="0"/>
              </a:rPr>
              <a:t> </a:t>
            </a:r>
            <a:r>
              <a:rPr lang="en-GB" sz="2000" dirty="0" err="1">
                <a:solidFill>
                  <a:schemeClr val="bg1"/>
                </a:solidFill>
                <a:latin typeface="Arial" panose="020B0604020202020204" pitchFamily="34" charset="0"/>
                <a:cs typeface="Arial" panose="020B0604020202020204" pitchFamily="34" charset="0"/>
              </a:rPr>
              <a:t>en</a:t>
            </a:r>
            <a:r>
              <a:rPr lang="en-GB" sz="2000" dirty="0">
                <a:solidFill>
                  <a:schemeClr val="bg1"/>
                </a:solidFill>
                <a:latin typeface="Arial" panose="020B0604020202020204" pitchFamily="34" charset="0"/>
                <a:cs typeface="Arial" panose="020B0604020202020204" pitchFamily="34" charset="0"/>
              </a:rPr>
              <a:t> una </a:t>
            </a:r>
            <a:r>
              <a:rPr lang="en-GB" sz="2000" b="1" dirty="0" err="1">
                <a:solidFill>
                  <a:schemeClr val="bg1"/>
                </a:solidFill>
                <a:highlight>
                  <a:srgbClr val="EA3A55"/>
                </a:highlight>
                <a:latin typeface="Arial" panose="020B0604020202020204" pitchFamily="34" charset="0"/>
                <a:cs typeface="Arial" panose="020B0604020202020204" pitchFamily="34" charset="0"/>
              </a:rPr>
              <a:t>herramienta</a:t>
            </a:r>
            <a:r>
              <a:rPr lang="en-GB" sz="2000" b="1" dirty="0">
                <a:solidFill>
                  <a:schemeClr val="bg1"/>
                </a:solidFill>
                <a:highlight>
                  <a:srgbClr val="EA3A55"/>
                </a:highlight>
                <a:latin typeface="Arial" panose="020B0604020202020204" pitchFamily="34" charset="0"/>
                <a:cs typeface="Arial" panose="020B0604020202020204" pitchFamily="34" charset="0"/>
              </a:rPr>
              <a:t> online</a:t>
            </a:r>
            <a:r>
              <a:rPr lang="en-GB" sz="2000" dirty="0">
                <a:solidFill>
                  <a:schemeClr val="bg1"/>
                </a:solidFill>
                <a:latin typeface="Arial" panose="020B0604020202020204" pitchFamily="34" charset="0"/>
                <a:cs typeface="Arial" panose="020B0604020202020204" pitchFamily="34" charset="0"/>
              </a:rPr>
              <a:t> </a:t>
            </a:r>
            <a:r>
              <a:rPr lang="en-GB" sz="2000" dirty="0" err="1">
                <a:solidFill>
                  <a:schemeClr val="bg1"/>
                </a:solidFill>
                <a:latin typeface="Arial" panose="020B0604020202020204" pitchFamily="34" charset="0"/>
                <a:cs typeface="Arial" panose="020B0604020202020204" pitchFamily="34" charset="0"/>
              </a:rPr>
              <a:t>pueden</a:t>
            </a:r>
            <a:r>
              <a:rPr lang="en-GB" sz="2000" dirty="0">
                <a:solidFill>
                  <a:schemeClr val="bg1"/>
                </a:solidFill>
                <a:latin typeface="Arial" panose="020B0604020202020204" pitchFamily="34" charset="0"/>
                <a:cs typeface="Arial" panose="020B0604020202020204" pitchFamily="34" charset="0"/>
              </a:rPr>
              <a:t> </a:t>
            </a:r>
            <a:r>
              <a:rPr lang="en-GB" sz="2000" dirty="0" err="1">
                <a:solidFill>
                  <a:schemeClr val="bg1"/>
                </a:solidFill>
                <a:latin typeface="Arial" panose="020B0604020202020204" pitchFamily="34" charset="0"/>
                <a:cs typeface="Arial" panose="020B0604020202020204" pitchFamily="34" charset="0"/>
              </a:rPr>
              <a:t>cargar</a:t>
            </a:r>
            <a:r>
              <a:rPr lang="en-GB" sz="2000" dirty="0">
                <a:solidFill>
                  <a:schemeClr val="bg1"/>
                </a:solidFill>
                <a:latin typeface="Arial" panose="020B0604020202020204" pitchFamily="34" charset="0"/>
                <a:cs typeface="Arial" panose="020B0604020202020204" pitchFamily="34" charset="0"/>
              </a:rPr>
              <a:t> el </a:t>
            </a:r>
            <a:r>
              <a:rPr lang="en-GB" sz="2000" dirty="0" err="1">
                <a:solidFill>
                  <a:schemeClr val="bg1"/>
                </a:solidFill>
                <a:latin typeface="Arial" panose="020B0604020202020204" pitchFamily="34" charset="0"/>
                <a:cs typeface="Arial" panose="020B0604020202020204" pitchFamily="34" charset="0"/>
              </a:rPr>
              <a:t>documento</a:t>
            </a:r>
            <a:r>
              <a:rPr lang="en-GB" sz="2000" dirty="0">
                <a:solidFill>
                  <a:schemeClr val="bg1"/>
                </a:solidFill>
                <a:latin typeface="Arial" panose="020B0604020202020204" pitchFamily="34" charset="0"/>
                <a:cs typeface="Arial" panose="020B0604020202020204" pitchFamily="34" charset="0"/>
              </a:rPr>
              <a:t> con el link </a:t>
            </a:r>
            <a:r>
              <a:rPr lang="en-GB" sz="2000" dirty="0" err="1">
                <a:solidFill>
                  <a:schemeClr val="bg1"/>
                </a:solidFill>
                <a:latin typeface="Arial" panose="020B0604020202020204" pitchFamily="34" charset="0"/>
                <a:cs typeface="Arial" panose="020B0604020202020204" pitchFamily="34" charset="0"/>
              </a:rPr>
              <a:t>asociado</a:t>
            </a:r>
            <a:r>
              <a:rPr lang="en-GB" sz="2000" dirty="0">
                <a:solidFill>
                  <a:schemeClr val="bg1"/>
                </a:solidFill>
                <a:latin typeface="Arial" panose="020B0604020202020204" pitchFamily="34" charset="0"/>
                <a:cs typeface="Arial" panose="020B0604020202020204" pitchFamily="34" charset="0"/>
              </a:rPr>
              <a:t>. </a:t>
            </a:r>
            <a:r>
              <a:rPr lang="en-GB" sz="2000" dirty="0" err="1">
                <a:solidFill>
                  <a:schemeClr val="bg1"/>
                </a:solidFill>
                <a:latin typeface="Arial" panose="020B0604020202020204" pitchFamily="34" charset="0"/>
                <a:cs typeface="Arial" panose="020B0604020202020204" pitchFamily="34" charset="0"/>
              </a:rPr>
              <a:t>Asegurense</a:t>
            </a:r>
            <a:r>
              <a:rPr lang="en-GB" sz="2000" dirty="0">
                <a:solidFill>
                  <a:schemeClr val="bg1"/>
                </a:solidFill>
                <a:latin typeface="Arial" panose="020B0604020202020204" pitchFamily="34" charset="0"/>
                <a:cs typeface="Arial" panose="020B0604020202020204" pitchFamily="34" charset="0"/>
              </a:rPr>
              <a:t> de que </a:t>
            </a:r>
            <a:r>
              <a:rPr lang="en-GB" sz="2000" dirty="0" err="1">
                <a:solidFill>
                  <a:schemeClr val="bg1"/>
                </a:solidFill>
                <a:latin typeface="Arial" panose="020B0604020202020204" pitchFamily="34" charset="0"/>
                <a:cs typeface="Arial" panose="020B0604020202020204" pitchFamily="34" charset="0"/>
              </a:rPr>
              <a:t>estos</a:t>
            </a:r>
            <a:r>
              <a:rPr lang="en-GB" sz="2000" dirty="0">
                <a:solidFill>
                  <a:schemeClr val="bg1"/>
                </a:solidFill>
                <a:latin typeface="Arial" panose="020B0604020202020204" pitchFamily="34" charset="0"/>
                <a:cs typeface="Arial" panose="020B0604020202020204" pitchFamily="34" charset="0"/>
              </a:rPr>
              <a:t> links </a:t>
            </a:r>
            <a:r>
              <a:rPr lang="en-GB" sz="2000" dirty="0" err="1">
                <a:solidFill>
                  <a:schemeClr val="bg1"/>
                </a:solidFill>
                <a:latin typeface="Arial" panose="020B0604020202020204" pitchFamily="34" charset="0"/>
                <a:cs typeface="Arial" panose="020B0604020202020204" pitchFamily="34" charset="0"/>
              </a:rPr>
              <a:t>sean</a:t>
            </a:r>
            <a:r>
              <a:rPr lang="en-GB" sz="2000" dirty="0">
                <a:solidFill>
                  <a:schemeClr val="bg1"/>
                </a:solidFill>
                <a:latin typeface="Arial" panose="020B0604020202020204" pitchFamily="34" charset="0"/>
                <a:cs typeface="Arial" panose="020B0604020202020204" pitchFamily="34" charset="0"/>
              </a:rPr>
              <a:t> </a:t>
            </a:r>
            <a:r>
              <a:rPr lang="en-GB" sz="2000" dirty="0" err="1">
                <a:solidFill>
                  <a:schemeClr val="bg1"/>
                </a:solidFill>
                <a:latin typeface="Arial" panose="020B0604020202020204" pitchFamily="34" charset="0"/>
                <a:cs typeface="Arial" panose="020B0604020202020204" pitchFamily="34" charset="0"/>
              </a:rPr>
              <a:t>públicos</a:t>
            </a:r>
            <a:r>
              <a:rPr lang="en-GB" sz="2000" dirty="0">
                <a:solidFill>
                  <a:schemeClr val="bg1"/>
                </a:solidFill>
                <a:latin typeface="Arial" panose="020B0604020202020204" pitchFamily="34" charset="0"/>
                <a:cs typeface="Arial" panose="020B0604020202020204" pitchFamily="34" charset="0"/>
              </a:rPr>
              <a:t>, es </a:t>
            </a:r>
            <a:r>
              <a:rPr lang="en-GB" sz="2000" dirty="0" err="1">
                <a:solidFill>
                  <a:schemeClr val="bg1"/>
                </a:solidFill>
                <a:latin typeface="Arial" panose="020B0604020202020204" pitchFamily="34" charset="0"/>
                <a:cs typeface="Arial" panose="020B0604020202020204" pitchFamily="34" charset="0"/>
              </a:rPr>
              <a:t>decir</a:t>
            </a:r>
            <a:r>
              <a:rPr lang="en-GB" sz="2000" dirty="0">
                <a:solidFill>
                  <a:schemeClr val="bg1"/>
                </a:solidFill>
                <a:latin typeface="Arial" panose="020B0604020202020204" pitchFamily="34" charset="0"/>
                <a:cs typeface="Arial" panose="020B0604020202020204" pitchFamily="34" charset="0"/>
              </a:rPr>
              <a:t>, que </a:t>
            </a:r>
            <a:r>
              <a:rPr lang="en-GB" sz="2000" dirty="0" err="1">
                <a:solidFill>
                  <a:schemeClr val="bg1"/>
                </a:solidFill>
                <a:latin typeface="Arial" panose="020B0604020202020204" pitchFamily="34" charset="0"/>
                <a:cs typeface="Arial" panose="020B0604020202020204" pitchFamily="34" charset="0"/>
              </a:rPr>
              <a:t>puedan</a:t>
            </a:r>
            <a:r>
              <a:rPr lang="en-GB" sz="2000" dirty="0">
                <a:solidFill>
                  <a:schemeClr val="bg1"/>
                </a:solidFill>
                <a:latin typeface="Arial" panose="020B0604020202020204" pitchFamily="34" charset="0"/>
                <a:cs typeface="Arial" panose="020B0604020202020204" pitchFamily="34" charset="0"/>
              </a:rPr>
              <a:t> ser </a:t>
            </a:r>
            <a:r>
              <a:rPr lang="en-GB" sz="2000" dirty="0" err="1">
                <a:solidFill>
                  <a:schemeClr val="bg1"/>
                </a:solidFill>
                <a:latin typeface="Arial" panose="020B0604020202020204" pitchFamily="34" charset="0"/>
                <a:cs typeface="Arial" panose="020B0604020202020204" pitchFamily="34" charset="0"/>
              </a:rPr>
              <a:t>visualizados</a:t>
            </a:r>
            <a:r>
              <a:rPr lang="en-GB" sz="2000" dirty="0">
                <a:solidFill>
                  <a:schemeClr val="bg1"/>
                </a:solidFill>
                <a:latin typeface="Arial" panose="020B0604020202020204" pitchFamily="34" charset="0"/>
                <a:cs typeface="Arial" panose="020B0604020202020204" pitchFamily="34" charset="0"/>
              </a:rPr>
              <a:t> por personas </a:t>
            </a:r>
            <a:r>
              <a:rPr lang="en-GB" sz="2000" dirty="0" err="1">
                <a:solidFill>
                  <a:schemeClr val="bg1"/>
                </a:solidFill>
                <a:latin typeface="Arial" panose="020B0604020202020204" pitchFamily="34" charset="0"/>
                <a:cs typeface="Arial" panose="020B0604020202020204" pitchFamily="34" charset="0"/>
              </a:rPr>
              <a:t>fuera</a:t>
            </a:r>
            <a:r>
              <a:rPr lang="en-GB" sz="2000" dirty="0">
                <a:solidFill>
                  <a:schemeClr val="bg1"/>
                </a:solidFill>
                <a:latin typeface="Arial" panose="020B0604020202020204" pitchFamily="34" charset="0"/>
                <a:cs typeface="Arial" panose="020B0604020202020204" pitchFamily="34" charset="0"/>
              </a:rPr>
              <a:t> de </a:t>
            </a:r>
            <a:r>
              <a:rPr lang="en-GB" sz="2000" dirty="0" err="1">
                <a:solidFill>
                  <a:schemeClr val="bg1"/>
                </a:solidFill>
                <a:latin typeface="Arial" panose="020B0604020202020204" pitchFamily="34" charset="0"/>
                <a:cs typeface="Arial" panose="020B0604020202020204" pitchFamily="34" charset="0"/>
              </a:rPr>
              <a:t>su</a:t>
            </a:r>
            <a:r>
              <a:rPr lang="en-GB" sz="2000" dirty="0">
                <a:solidFill>
                  <a:schemeClr val="bg1"/>
                </a:solidFill>
                <a:latin typeface="Arial" panose="020B0604020202020204" pitchFamily="34" charset="0"/>
                <a:cs typeface="Arial" panose="020B0604020202020204" pitchFamily="34" charset="0"/>
              </a:rPr>
              <a:t> </a:t>
            </a:r>
            <a:r>
              <a:rPr lang="en-GB" sz="2000" dirty="0" err="1">
                <a:solidFill>
                  <a:schemeClr val="bg1"/>
                </a:solidFill>
                <a:latin typeface="Arial" panose="020B0604020202020204" pitchFamily="34" charset="0"/>
                <a:cs typeface="Arial" panose="020B0604020202020204" pitchFamily="34" charset="0"/>
              </a:rPr>
              <a:t>organización</a:t>
            </a:r>
            <a:r>
              <a:rPr lang="en-GB" sz="2000" dirty="0">
                <a:solidFill>
                  <a:schemeClr val="bg1"/>
                </a:solidFill>
                <a:latin typeface="Arial" panose="020B0604020202020204" pitchFamily="34" charset="0"/>
                <a:cs typeface="Arial" panose="020B0604020202020204" pitchFamily="34" charset="0"/>
              </a:rPr>
              <a:t>.</a:t>
            </a:r>
          </a:p>
          <a:p>
            <a:pPr marL="342900" marR="0" lvl="0" indent="-34290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GB" sz="2000" dirty="0" err="1">
                <a:solidFill>
                  <a:schemeClr val="bg1"/>
                </a:solidFill>
                <a:latin typeface="Arial" panose="020B0604020202020204" pitchFamily="34" charset="0"/>
                <a:cs typeface="Arial" panose="020B0604020202020204" pitchFamily="34" charset="0"/>
              </a:rPr>
              <a:t>Asegurense</a:t>
            </a:r>
            <a:r>
              <a:rPr lang="en-GB" sz="2000" dirty="0">
                <a:solidFill>
                  <a:schemeClr val="bg1"/>
                </a:solidFill>
                <a:latin typeface="Arial" panose="020B0604020202020204" pitchFamily="34" charset="0"/>
                <a:cs typeface="Arial" panose="020B0604020202020204" pitchFamily="34" charset="0"/>
              </a:rPr>
              <a:t> que el </a:t>
            </a:r>
            <a:r>
              <a:rPr lang="en-GB" sz="2000" dirty="0" err="1">
                <a:solidFill>
                  <a:schemeClr val="bg1"/>
                </a:solidFill>
                <a:latin typeface="Arial" panose="020B0604020202020204" pitchFamily="34" charset="0"/>
                <a:cs typeface="Arial" panose="020B0604020202020204" pitchFamily="34" charset="0"/>
              </a:rPr>
              <a:t>archivo</a:t>
            </a:r>
            <a:r>
              <a:rPr lang="en-GB" sz="2000" dirty="0">
                <a:solidFill>
                  <a:schemeClr val="bg1"/>
                </a:solidFill>
                <a:latin typeface="Arial" panose="020B0604020202020204" pitchFamily="34" charset="0"/>
                <a:cs typeface="Arial" panose="020B0604020202020204" pitchFamily="34" charset="0"/>
              </a:rPr>
              <a:t> sea legible </a:t>
            </a:r>
            <a:r>
              <a:rPr lang="en-GB" sz="2000" dirty="0" err="1">
                <a:solidFill>
                  <a:schemeClr val="bg1"/>
                </a:solidFill>
                <a:latin typeface="Arial" panose="020B0604020202020204" pitchFamily="34" charset="0"/>
                <a:cs typeface="Arial" panose="020B0604020202020204" pitchFamily="34" charset="0"/>
              </a:rPr>
              <a:t>pues</a:t>
            </a:r>
            <a:r>
              <a:rPr lang="en-GB" sz="2000" dirty="0">
                <a:solidFill>
                  <a:schemeClr val="bg1"/>
                </a:solidFill>
                <a:latin typeface="Arial" panose="020B0604020202020204" pitchFamily="34" charset="0"/>
                <a:cs typeface="Arial" panose="020B0604020202020204" pitchFamily="34" charset="0"/>
              </a:rPr>
              <a:t> solo se </a:t>
            </a:r>
            <a:r>
              <a:rPr lang="en-GB" sz="2000" dirty="0" err="1">
                <a:solidFill>
                  <a:schemeClr val="bg1"/>
                </a:solidFill>
                <a:latin typeface="Arial" panose="020B0604020202020204" pitchFamily="34" charset="0"/>
                <a:cs typeface="Arial" panose="020B0604020202020204" pitchFamily="34" charset="0"/>
              </a:rPr>
              <a:t>podrá</a:t>
            </a:r>
            <a:r>
              <a:rPr lang="en-GB" sz="2000" dirty="0">
                <a:solidFill>
                  <a:schemeClr val="bg1"/>
                </a:solidFill>
                <a:latin typeface="Arial" panose="020B0604020202020204" pitchFamily="34" charset="0"/>
                <a:cs typeface="Arial" panose="020B0604020202020204" pitchFamily="34" charset="0"/>
              </a:rPr>
              <a:t> </a:t>
            </a:r>
            <a:r>
              <a:rPr lang="en-GB" sz="2000" dirty="0" err="1">
                <a:solidFill>
                  <a:schemeClr val="bg1"/>
                </a:solidFill>
                <a:latin typeface="Arial" panose="020B0604020202020204" pitchFamily="34" charset="0"/>
                <a:cs typeface="Arial" panose="020B0604020202020204" pitchFamily="34" charset="0"/>
              </a:rPr>
              <a:t>subir</a:t>
            </a:r>
            <a:r>
              <a:rPr lang="en-GB" sz="2000" dirty="0">
                <a:solidFill>
                  <a:schemeClr val="bg1"/>
                </a:solidFill>
                <a:latin typeface="Arial" panose="020B0604020202020204" pitchFamily="34" charset="0"/>
                <a:cs typeface="Arial" panose="020B0604020202020204" pitchFamily="34" charset="0"/>
              </a:rPr>
              <a:t> a la Academia </a:t>
            </a:r>
            <a:r>
              <a:rPr lang="en-GB" sz="2000" b="1" u="sng" dirty="0">
                <a:solidFill>
                  <a:schemeClr val="bg1"/>
                </a:solidFill>
                <a:latin typeface="Arial" panose="020B0604020202020204" pitchFamily="34" charset="0"/>
                <a:cs typeface="Arial" panose="020B0604020202020204" pitchFamily="34" charset="0"/>
              </a:rPr>
              <a:t>una </a:t>
            </a:r>
            <a:r>
              <a:rPr lang="en-GB" sz="2000" b="1" u="sng" dirty="0" err="1">
                <a:solidFill>
                  <a:schemeClr val="bg1"/>
                </a:solidFill>
                <a:latin typeface="Arial" panose="020B0604020202020204" pitchFamily="34" charset="0"/>
                <a:cs typeface="Arial" panose="020B0604020202020204" pitchFamily="34" charset="0"/>
              </a:rPr>
              <a:t>vez</a:t>
            </a:r>
            <a:r>
              <a:rPr lang="en-GB" sz="2000" b="1" u="sng" dirty="0">
                <a:solidFill>
                  <a:schemeClr val="bg1"/>
                </a:solidFill>
                <a:latin typeface="Arial" panose="020B0604020202020204" pitchFamily="34" charset="0"/>
                <a:cs typeface="Arial" panose="020B0604020202020204" pitchFamily="34" charset="0"/>
              </a:rPr>
              <a:t>. </a:t>
            </a:r>
            <a:endParaRPr lang="en-GB" sz="2000" b="1" u="sng" dirty="0">
              <a:solidFill>
                <a:schemeClr val="accent4">
                  <a:lumMod val="40000"/>
                  <a:lumOff val="60000"/>
                </a:schemeClr>
              </a:solidFill>
              <a:latin typeface="Arial" panose="020B0604020202020204" pitchFamily="34" charset="0"/>
              <a:cs typeface="Arial" panose="020B0604020202020204" pitchFamily="34" charset="0"/>
            </a:endParaRPr>
          </a:p>
        </p:txBody>
      </p:sp>
      <p:sp>
        <p:nvSpPr>
          <p:cNvPr id="9" name="TextBox 8">
            <a:extLst>
              <a:ext uri="{FF2B5EF4-FFF2-40B4-BE49-F238E27FC236}">
                <a16:creationId xmlns:a16="http://schemas.microsoft.com/office/drawing/2014/main" id="{CE4A2C1A-0104-420F-86F4-4F0E52E284BB}"/>
              </a:ext>
            </a:extLst>
          </p:cNvPr>
          <p:cNvSpPr txBox="1"/>
          <p:nvPr/>
        </p:nvSpPr>
        <p:spPr>
          <a:xfrm>
            <a:off x="553451" y="362193"/>
            <a:ext cx="10838046" cy="901593"/>
          </a:xfrm>
          <a:prstGeom prst="rect">
            <a:avLst/>
          </a:prstGeom>
          <a:noFill/>
        </p:spPr>
        <p:txBody>
          <a:bodyPr wrap="square" rtlCol="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lang="es-CO" sz="4000" b="1" dirty="0">
                <a:solidFill>
                  <a:prstClr val="white"/>
                </a:solidFill>
                <a:latin typeface="Arial" panose="020B0604020202020204" pitchFamily="34" charset="0"/>
                <a:cs typeface="Arial" panose="020B0604020202020204" pitchFamily="34" charset="0"/>
              </a:rPr>
              <a:t>INSTRUCCIONES</a:t>
            </a:r>
            <a:endParaRPr lang="en-GB" sz="4000" b="1"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296741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C3E24BFF-A0DB-4ECE-96D3-5EAB937B7323}"/>
              </a:ext>
            </a:extLst>
          </p:cNvPr>
          <p:cNvSpPr txBox="1"/>
          <p:nvPr/>
        </p:nvSpPr>
        <p:spPr>
          <a:xfrm>
            <a:off x="553451" y="362193"/>
            <a:ext cx="10838046" cy="901593"/>
          </a:xfrm>
          <a:prstGeom prst="rect">
            <a:avLst/>
          </a:prstGeom>
          <a:noFill/>
        </p:spPr>
        <p:txBody>
          <a:bodyPr wrap="square" rtlCol="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lang="es-CO" sz="4000" b="1" dirty="0">
                <a:solidFill>
                  <a:prstClr val="white"/>
                </a:solidFill>
                <a:latin typeface="Arial" panose="020B0604020202020204" pitchFamily="34" charset="0"/>
                <a:cs typeface="Arial" panose="020B0604020202020204" pitchFamily="34" charset="0"/>
              </a:rPr>
              <a:t>RECOMENDACIONES FINALES</a:t>
            </a:r>
            <a:endParaRPr lang="en-GB" sz="4000" b="1" dirty="0">
              <a:solidFill>
                <a:schemeClr val="bg1"/>
              </a:solidFill>
              <a:latin typeface="Arial" panose="020B0604020202020204" pitchFamily="34" charset="0"/>
              <a:cs typeface="Arial" panose="020B0604020202020204" pitchFamily="34" charset="0"/>
            </a:endParaRPr>
          </a:p>
        </p:txBody>
      </p:sp>
      <p:sp>
        <p:nvSpPr>
          <p:cNvPr id="11" name="TextBox 10">
            <a:extLst>
              <a:ext uri="{FF2B5EF4-FFF2-40B4-BE49-F238E27FC236}">
                <a16:creationId xmlns:a16="http://schemas.microsoft.com/office/drawing/2014/main" id="{4E24824E-F86D-4BF1-A73F-457CD5F4A18D}"/>
              </a:ext>
            </a:extLst>
          </p:cNvPr>
          <p:cNvSpPr txBox="1"/>
          <p:nvPr/>
        </p:nvSpPr>
        <p:spPr>
          <a:xfrm>
            <a:off x="639233" y="1415484"/>
            <a:ext cx="10752264" cy="1703030"/>
          </a:xfrm>
          <a:prstGeom prst="rect">
            <a:avLst/>
          </a:prstGeom>
          <a:noFill/>
        </p:spPr>
        <p:txBody>
          <a:bodyPr wrap="square" rtlCol="0">
            <a:spAutoFit/>
          </a:bodyPr>
          <a:lstStyle/>
          <a:p>
            <a:pPr marL="285750" marR="0" lvl="0" indent="-285750"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GB" b="1" dirty="0" err="1">
                <a:solidFill>
                  <a:schemeClr val="bg1"/>
                </a:solidFill>
                <a:latin typeface="Arial" panose="020B0604020202020204" pitchFamily="34" charset="0"/>
                <a:cs typeface="Arial" panose="020B0604020202020204" pitchFamily="34" charset="0"/>
              </a:rPr>
              <a:t>Recuerden</a:t>
            </a:r>
            <a:r>
              <a:rPr lang="en-GB" b="1" dirty="0">
                <a:solidFill>
                  <a:schemeClr val="bg1"/>
                </a:solidFill>
                <a:latin typeface="Arial" panose="020B0604020202020204" pitchFamily="34" charset="0"/>
                <a:cs typeface="Arial" panose="020B0604020202020204" pitchFamily="34" charset="0"/>
              </a:rPr>
              <a:t> que tanto la persona </a:t>
            </a:r>
            <a:r>
              <a:rPr lang="en-GB" b="1" dirty="0" err="1">
                <a:solidFill>
                  <a:schemeClr val="bg1"/>
                </a:solidFill>
                <a:latin typeface="Arial" panose="020B0604020202020204" pitchFamily="34" charset="0"/>
                <a:cs typeface="Arial" panose="020B0604020202020204" pitchFamily="34" charset="0"/>
              </a:rPr>
              <a:t>como</a:t>
            </a:r>
            <a:r>
              <a:rPr lang="en-GB" b="1" dirty="0">
                <a:solidFill>
                  <a:schemeClr val="bg1"/>
                </a:solidFill>
                <a:latin typeface="Arial" panose="020B0604020202020204" pitchFamily="34" charset="0"/>
                <a:cs typeface="Arial" panose="020B0604020202020204" pitchFamily="34" charset="0"/>
              </a:rPr>
              <a:t> el customer journey </a:t>
            </a:r>
            <a:r>
              <a:rPr lang="en-GB" b="1" dirty="0" err="1">
                <a:solidFill>
                  <a:schemeClr val="bg1"/>
                </a:solidFill>
                <a:latin typeface="Arial" panose="020B0604020202020204" pitchFamily="34" charset="0"/>
                <a:cs typeface="Arial" panose="020B0604020202020204" pitchFamily="34" charset="0"/>
              </a:rPr>
              <a:t>deben</a:t>
            </a:r>
            <a:r>
              <a:rPr lang="en-GB" b="1" dirty="0">
                <a:solidFill>
                  <a:schemeClr val="bg1"/>
                </a:solidFill>
                <a:latin typeface="Arial" panose="020B0604020202020204" pitchFamily="34" charset="0"/>
                <a:cs typeface="Arial" panose="020B0604020202020204" pitchFamily="34" charset="0"/>
              </a:rPr>
              <a:t> </a:t>
            </a:r>
            <a:r>
              <a:rPr lang="en-GB" b="1" dirty="0" err="1">
                <a:solidFill>
                  <a:schemeClr val="bg1"/>
                </a:solidFill>
                <a:latin typeface="Arial" panose="020B0604020202020204" pitchFamily="34" charset="0"/>
                <a:cs typeface="Arial" panose="020B0604020202020204" pitchFamily="34" charset="0"/>
              </a:rPr>
              <a:t>estar</a:t>
            </a:r>
            <a:r>
              <a:rPr lang="en-GB" b="1" dirty="0">
                <a:solidFill>
                  <a:schemeClr val="bg1"/>
                </a:solidFill>
                <a:latin typeface="Arial" panose="020B0604020202020204" pitchFamily="34" charset="0"/>
                <a:cs typeface="Arial" panose="020B0604020202020204" pitchFamily="34" charset="0"/>
              </a:rPr>
              <a:t> </a:t>
            </a:r>
            <a:r>
              <a:rPr lang="en-GB" b="1" dirty="0" err="1">
                <a:solidFill>
                  <a:schemeClr val="bg1"/>
                </a:solidFill>
                <a:latin typeface="Arial" panose="020B0604020202020204" pitchFamily="34" charset="0"/>
                <a:cs typeface="Arial" panose="020B0604020202020204" pitchFamily="34" charset="0"/>
              </a:rPr>
              <a:t>basados</a:t>
            </a:r>
            <a:r>
              <a:rPr lang="en-GB" b="1" dirty="0">
                <a:solidFill>
                  <a:schemeClr val="bg1"/>
                </a:solidFill>
                <a:latin typeface="Arial" panose="020B0604020202020204" pitchFamily="34" charset="0"/>
                <a:cs typeface="Arial" panose="020B0604020202020204" pitchFamily="34" charset="0"/>
              </a:rPr>
              <a:t> </a:t>
            </a:r>
            <a:r>
              <a:rPr lang="en-GB" b="1" dirty="0" err="1">
                <a:solidFill>
                  <a:schemeClr val="bg1"/>
                </a:solidFill>
                <a:latin typeface="Arial" panose="020B0604020202020204" pitchFamily="34" charset="0"/>
                <a:cs typeface="Arial" panose="020B0604020202020204" pitchFamily="34" charset="0"/>
              </a:rPr>
              <a:t>en</a:t>
            </a:r>
            <a:r>
              <a:rPr lang="en-GB" b="1" dirty="0">
                <a:solidFill>
                  <a:schemeClr val="bg1"/>
                </a:solidFill>
                <a:latin typeface="Arial" panose="020B0604020202020204" pitchFamily="34" charset="0"/>
                <a:cs typeface="Arial" panose="020B0604020202020204" pitchFamily="34" charset="0"/>
              </a:rPr>
              <a:t> </a:t>
            </a:r>
            <a:r>
              <a:rPr lang="en-GB" b="1" dirty="0">
                <a:solidFill>
                  <a:schemeClr val="bg1"/>
                </a:solidFill>
                <a:highlight>
                  <a:srgbClr val="EA3A55"/>
                </a:highlight>
                <a:latin typeface="Arial" panose="020B0604020202020204" pitchFamily="34" charset="0"/>
                <a:cs typeface="Arial" panose="020B0604020202020204" pitchFamily="34" charset="0"/>
              </a:rPr>
              <a:t>DATOS REALES</a:t>
            </a:r>
            <a:r>
              <a:rPr lang="en-GB" b="1" dirty="0">
                <a:solidFill>
                  <a:schemeClr val="bg1"/>
                </a:solidFill>
                <a:latin typeface="Arial" panose="020B0604020202020204" pitchFamily="34" charset="0"/>
                <a:cs typeface="Arial" panose="020B0604020202020204" pitchFamily="34" charset="0"/>
              </a:rPr>
              <a:t>, </a:t>
            </a:r>
            <a:r>
              <a:rPr lang="en-GB" b="1" dirty="0" err="1">
                <a:solidFill>
                  <a:schemeClr val="bg1"/>
                </a:solidFill>
                <a:latin typeface="Arial" panose="020B0604020202020204" pitchFamily="34" charset="0"/>
                <a:cs typeface="Arial" panose="020B0604020202020204" pitchFamily="34" charset="0"/>
              </a:rPr>
              <a:t>este</a:t>
            </a:r>
            <a:r>
              <a:rPr lang="en-GB" b="1" dirty="0">
                <a:solidFill>
                  <a:schemeClr val="bg1"/>
                </a:solidFill>
                <a:latin typeface="Arial" panose="020B0604020202020204" pitchFamily="34" charset="0"/>
                <a:cs typeface="Arial" panose="020B0604020202020204" pitchFamily="34" charset="0"/>
              </a:rPr>
              <a:t> es el </a:t>
            </a:r>
            <a:r>
              <a:rPr lang="en-GB" b="1" dirty="0" err="1">
                <a:solidFill>
                  <a:schemeClr val="bg1"/>
                </a:solidFill>
                <a:latin typeface="Arial" panose="020B0604020202020204" pitchFamily="34" charset="0"/>
                <a:cs typeface="Arial" panose="020B0604020202020204" pitchFamily="34" charset="0"/>
              </a:rPr>
              <a:t>valor</a:t>
            </a:r>
            <a:r>
              <a:rPr lang="en-GB" b="1" dirty="0">
                <a:solidFill>
                  <a:schemeClr val="bg1"/>
                </a:solidFill>
                <a:latin typeface="Arial" panose="020B0604020202020204" pitchFamily="34" charset="0"/>
                <a:cs typeface="Arial" panose="020B0604020202020204" pitchFamily="34" charset="0"/>
              </a:rPr>
              <a:t> del </a:t>
            </a:r>
            <a:r>
              <a:rPr lang="en-GB" b="1" dirty="0" err="1">
                <a:solidFill>
                  <a:schemeClr val="bg1"/>
                </a:solidFill>
                <a:latin typeface="Arial" panose="020B0604020202020204" pitchFamily="34" charset="0"/>
                <a:cs typeface="Arial" panose="020B0604020202020204" pitchFamily="34" charset="0"/>
              </a:rPr>
              <a:t>ejercicio</a:t>
            </a:r>
            <a:r>
              <a:rPr lang="en-GB" b="1" dirty="0">
                <a:solidFill>
                  <a:schemeClr val="bg1"/>
                </a:solidFill>
                <a:latin typeface="Arial" panose="020B0604020202020204" pitchFamily="34" charset="0"/>
                <a:cs typeface="Arial" panose="020B0604020202020204" pitchFamily="34" charset="0"/>
              </a:rPr>
              <a:t>.</a:t>
            </a:r>
          </a:p>
          <a:p>
            <a:pPr marL="285750" marR="0" lvl="0" indent="-285750"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GB" b="1" dirty="0" err="1">
                <a:solidFill>
                  <a:schemeClr val="bg1"/>
                </a:solidFill>
                <a:latin typeface="Arial" panose="020B0604020202020204" pitchFamily="34" charset="0"/>
                <a:cs typeface="Arial" panose="020B0604020202020204" pitchFamily="34" charset="0"/>
              </a:rPr>
              <a:t>Unicamente</a:t>
            </a:r>
            <a:r>
              <a:rPr lang="en-GB" b="1" dirty="0">
                <a:solidFill>
                  <a:schemeClr val="bg1"/>
                </a:solidFill>
                <a:latin typeface="Arial" panose="020B0604020202020204" pitchFamily="34" charset="0"/>
                <a:cs typeface="Arial" panose="020B0604020202020204" pitchFamily="34" charset="0"/>
              </a:rPr>
              <a:t> usen personas </a:t>
            </a:r>
            <a:r>
              <a:rPr lang="en-GB" b="1" dirty="0" err="1">
                <a:solidFill>
                  <a:schemeClr val="bg1"/>
                </a:solidFill>
                <a:latin typeface="Arial" panose="020B0604020202020204" pitchFamily="34" charset="0"/>
                <a:cs typeface="Arial" panose="020B0604020202020204" pitchFamily="34" charset="0"/>
              </a:rPr>
              <a:t>ficticias</a:t>
            </a:r>
            <a:r>
              <a:rPr lang="en-GB" b="1" dirty="0">
                <a:solidFill>
                  <a:schemeClr val="bg1"/>
                </a:solidFill>
                <a:latin typeface="Arial" panose="020B0604020202020204" pitchFamily="34" charset="0"/>
                <a:cs typeface="Arial" panose="020B0604020202020204" pitchFamily="34" charset="0"/>
              </a:rPr>
              <a:t> </a:t>
            </a:r>
            <a:r>
              <a:rPr lang="en-GB" b="1" dirty="0" err="1">
                <a:solidFill>
                  <a:schemeClr val="bg1"/>
                </a:solidFill>
                <a:latin typeface="Arial" panose="020B0604020202020204" pitchFamily="34" charset="0"/>
                <a:cs typeface="Arial" panose="020B0604020202020204" pitchFamily="34" charset="0"/>
              </a:rPr>
              <a:t>cuando</a:t>
            </a:r>
            <a:r>
              <a:rPr lang="en-GB" b="1" dirty="0">
                <a:solidFill>
                  <a:schemeClr val="bg1"/>
                </a:solidFill>
                <a:latin typeface="Arial" panose="020B0604020202020204" pitchFamily="34" charset="0"/>
                <a:cs typeface="Arial" panose="020B0604020202020204" pitchFamily="34" charset="0"/>
              </a:rPr>
              <a:t> se </a:t>
            </a:r>
            <a:r>
              <a:rPr lang="en-GB" b="1" dirty="0" err="1">
                <a:solidFill>
                  <a:schemeClr val="bg1"/>
                </a:solidFill>
                <a:latin typeface="Arial" panose="020B0604020202020204" pitchFamily="34" charset="0"/>
                <a:cs typeface="Arial" panose="020B0604020202020204" pitchFamily="34" charset="0"/>
              </a:rPr>
              <a:t>trate</a:t>
            </a:r>
            <a:r>
              <a:rPr lang="en-GB" b="1" dirty="0">
                <a:solidFill>
                  <a:schemeClr val="bg1"/>
                </a:solidFill>
                <a:latin typeface="Arial" panose="020B0604020202020204" pitchFamily="34" charset="0"/>
                <a:cs typeface="Arial" panose="020B0604020202020204" pitchFamily="34" charset="0"/>
              </a:rPr>
              <a:t> de un customer journey para un </a:t>
            </a:r>
            <a:r>
              <a:rPr lang="en-GB" b="1" dirty="0">
                <a:solidFill>
                  <a:schemeClr val="bg1"/>
                </a:solidFill>
                <a:highlight>
                  <a:srgbClr val="EA3A55"/>
                </a:highlight>
                <a:latin typeface="Arial" panose="020B0604020202020204" pitchFamily="34" charset="0"/>
                <a:cs typeface="Arial" panose="020B0604020202020204" pitchFamily="34" charset="0"/>
              </a:rPr>
              <a:t>product o </a:t>
            </a:r>
            <a:r>
              <a:rPr lang="en-GB" b="1" dirty="0" err="1">
                <a:solidFill>
                  <a:schemeClr val="bg1"/>
                </a:solidFill>
                <a:highlight>
                  <a:srgbClr val="EA3A55"/>
                </a:highlight>
                <a:latin typeface="Arial" panose="020B0604020202020204" pitchFamily="34" charset="0"/>
                <a:cs typeface="Arial" panose="020B0604020202020204" pitchFamily="34" charset="0"/>
              </a:rPr>
              <a:t>servicio</a:t>
            </a:r>
            <a:r>
              <a:rPr lang="en-GB" b="1" dirty="0">
                <a:solidFill>
                  <a:schemeClr val="bg1"/>
                </a:solidFill>
                <a:highlight>
                  <a:srgbClr val="EA3A55"/>
                </a:highlight>
                <a:latin typeface="Arial" panose="020B0604020202020204" pitchFamily="34" charset="0"/>
                <a:cs typeface="Arial" panose="020B0604020202020204" pitchFamily="34" charset="0"/>
              </a:rPr>
              <a:t> nuevo.</a:t>
            </a:r>
          </a:p>
        </p:txBody>
      </p:sp>
      <p:sp>
        <p:nvSpPr>
          <p:cNvPr id="10" name="TextBox 9">
            <a:extLst>
              <a:ext uri="{FF2B5EF4-FFF2-40B4-BE49-F238E27FC236}">
                <a16:creationId xmlns:a16="http://schemas.microsoft.com/office/drawing/2014/main" id="{11F68A45-4F33-493E-930F-2B9C2E4FDB2F}"/>
              </a:ext>
            </a:extLst>
          </p:cNvPr>
          <p:cNvSpPr txBox="1"/>
          <p:nvPr/>
        </p:nvSpPr>
        <p:spPr>
          <a:xfrm>
            <a:off x="2353732" y="3270212"/>
            <a:ext cx="8771467" cy="1703030"/>
          </a:xfrm>
          <a:prstGeom prst="rect">
            <a:avLst/>
          </a:prstGeom>
          <a:noFill/>
        </p:spPr>
        <p:txBody>
          <a:bodyPr wrap="square">
            <a:spAutoFit/>
          </a:bodyPr>
          <a:lstStyle/>
          <a:p>
            <a:pPr marR="0" lvl="0" defTabSz="914400" rtl="0" eaLnBrk="1" fontAlgn="auto" latinLnBrk="0" hangingPunct="1">
              <a:lnSpc>
                <a:spcPct val="150000"/>
              </a:lnSpc>
              <a:spcBef>
                <a:spcPts val="0"/>
              </a:spcBef>
              <a:spcAft>
                <a:spcPts val="0"/>
              </a:spcAft>
              <a:buClrTx/>
              <a:buSzTx/>
              <a:tabLst/>
              <a:defRPr/>
            </a:pPr>
            <a:r>
              <a:rPr lang="es-CO" b="1" dirty="0">
                <a:solidFill>
                  <a:schemeClr val="bg1"/>
                </a:solidFill>
                <a:latin typeface="Arial" panose="020B0604020202020204" pitchFamily="34" charset="0"/>
                <a:cs typeface="Arial" panose="020B0604020202020204" pitchFamily="34" charset="0"/>
              </a:rPr>
              <a:t>Definan claramente en qué punto inicia y en qué punto termina su </a:t>
            </a:r>
            <a:r>
              <a:rPr lang="es-CO" b="1" dirty="0" err="1">
                <a:solidFill>
                  <a:schemeClr val="bg1"/>
                </a:solidFill>
                <a:latin typeface="Arial" panose="020B0604020202020204" pitchFamily="34" charset="0"/>
                <a:cs typeface="Arial" panose="020B0604020202020204" pitchFamily="34" charset="0"/>
              </a:rPr>
              <a:t>customer</a:t>
            </a:r>
            <a:r>
              <a:rPr lang="es-CO" b="1" dirty="0">
                <a:solidFill>
                  <a:schemeClr val="bg1"/>
                </a:solidFill>
                <a:latin typeface="Arial" panose="020B0604020202020204" pitchFamily="34" charset="0"/>
                <a:cs typeface="Arial" panose="020B0604020202020204" pitchFamily="34" charset="0"/>
              </a:rPr>
              <a:t> </a:t>
            </a:r>
            <a:r>
              <a:rPr lang="es-CO" b="1" dirty="0" err="1">
                <a:solidFill>
                  <a:schemeClr val="bg1"/>
                </a:solidFill>
                <a:latin typeface="Arial" panose="020B0604020202020204" pitchFamily="34" charset="0"/>
                <a:cs typeface="Arial" panose="020B0604020202020204" pitchFamily="34" charset="0"/>
              </a:rPr>
              <a:t>journey</a:t>
            </a:r>
            <a:r>
              <a:rPr lang="es-CO" b="1" dirty="0">
                <a:solidFill>
                  <a:schemeClr val="bg1"/>
                </a:solidFill>
                <a:latin typeface="Arial" panose="020B0604020202020204" pitchFamily="34" charset="0"/>
                <a:cs typeface="Arial" panose="020B0604020202020204" pitchFamily="34" charset="0"/>
              </a:rPr>
              <a:t>. </a:t>
            </a:r>
          </a:p>
          <a:p>
            <a:pPr marR="0" lvl="0" defTabSz="914400" rtl="0" eaLnBrk="1" fontAlgn="auto" latinLnBrk="0" hangingPunct="1">
              <a:lnSpc>
                <a:spcPct val="150000"/>
              </a:lnSpc>
              <a:spcBef>
                <a:spcPts val="0"/>
              </a:spcBef>
              <a:spcAft>
                <a:spcPts val="0"/>
              </a:spcAft>
              <a:buClrTx/>
              <a:buSzTx/>
              <a:tabLst/>
              <a:defRPr/>
            </a:pPr>
            <a:r>
              <a:rPr lang="es-CO" b="1" dirty="0">
                <a:solidFill>
                  <a:schemeClr val="bg1"/>
                </a:solidFill>
                <a:latin typeface="Arial" panose="020B0604020202020204" pitchFamily="34" charset="0"/>
                <a:cs typeface="Arial" panose="020B0604020202020204" pitchFamily="34" charset="0"/>
              </a:rPr>
              <a:t>Si ya tienen un problema identificado, realicen el ejercicio acotado a este y esfuércense por ser lo mas detalladas posible.</a:t>
            </a:r>
          </a:p>
        </p:txBody>
      </p:sp>
      <p:grpSp>
        <p:nvGrpSpPr>
          <p:cNvPr id="8" name="Group 7">
            <a:extLst>
              <a:ext uri="{FF2B5EF4-FFF2-40B4-BE49-F238E27FC236}">
                <a16:creationId xmlns:a16="http://schemas.microsoft.com/office/drawing/2014/main" id="{6BA275C3-9BFC-4181-98E8-C896A8C8A69D}"/>
              </a:ext>
            </a:extLst>
          </p:cNvPr>
          <p:cNvGrpSpPr/>
          <p:nvPr/>
        </p:nvGrpSpPr>
        <p:grpSpPr>
          <a:xfrm>
            <a:off x="884766" y="3270212"/>
            <a:ext cx="1468966" cy="1583626"/>
            <a:chOff x="639233" y="3200732"/>
            <a:chExt cx="1468966" cy="1583626"/>
          </a:xfrm>
        </p:grpSpPr>
        <p:pic>
          <p:nvPicPr>
            <p:cNvPr id="5" name="Graphic 4" descr="Route (Two Pins With A Path) with solid fill">
              <a:extLst>
                <a:ext uri="{FF2B5EF4-FFF2-40B4-BE49-F238E27FC236}">
                  <a16:creationId xmlns:a16="http://schemas.microsoft.com/office/drawing/2014/main" id="{D8584571-045A-4EF6-912C-2F02A7C91F6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39233" y="3272379"/>
              <a:ext cx="1223434" cy="1223434"/>
            </a:xfrm>
            <a:prstGeom prst="rect">
              <a:avLst/>
            </a:prstGeom>
          </p:spPr>
        </p:pic>
        <p:sp>
          <p:nvSpPr>
            <p:cNvPr id="14" name="TextBox 13">
              <a:extLst>
                <a:ext uri="{FF2B5EF4-FFF2-40B4-BE49-F238E27FC236}">
                  <a16:creationId xmlns:a16="http://schemas.microsoft.com/office/drawing/2014/main" id="{74272CE6-B3F4-4F41-96D6-57086329087A}"/>
                </a:ext>
              </a:extLst>
            </p:cNvPr>
            <p:cNvSpPr txBox="1"/>
            <p:nvPr/>
          </p:nvSpPr>
          <p:spPr>
            <a:xfrm>
              <a:off x="736599" y="4327823"/>
              <a:ext cx="321735" cy="456535"/>
            </a:xfrm>
            <a:prstGeom prst="rect">
              <a:avLst/>
            </a:prstGeom>
            <a:noFill/>
          </p:spPr>
          <p:txBody>
            <a:bodyPr wrap="square">
              <a:spAutoFit/>
            </a:bodyPr>
            <a:lstStyle/>
            <a:p>
              <a:pPr marR="0" lvl="0" defTabSz="914400" rtl="0" eaLnBrk="1" fontAlgn="auto" latinLnBrk="0" hangingPunct="1">
                <a:lnSpc>
                  <a:spcPct val="150000"/>
                </a:lnSpc>
                <a:spcBef>
                  <a:spcPts val="0"/>
                </a:spcBef>
                <a:spcAft>
                  <a:spcPts val="0"/>
                </a:spcAft>
                <a:buClrTx/>
                <a:buSzTx/>
                <a:tabLst/>
                <a:defRPr/>
              </a:pPr>
              <a:r>
                <a:rPr lang="es-CO" b="1" dirty="0">
                  <a:solidFill>
                    <a:srgbClr val="D4BFF8"/>
                  </a:solidFill>
                  <a:latin typeface="Arial" panose="020B0604020202020204" pitchFamily="34" charset="0"/>
                  <a:cs typeface="Arial" panose="020B0604020202020204" pitchFamily="34" charset="0"/>
                </a:rPr>
                <a:t>A</a:t>
              </a:r>
            </a:p>
          </p:txBody>
        </p:sp>
        <p:sp>
          <p:nvSpPr>
            <p:cNvPr id="15" name="TextBox 14">
              <a:extLst>
                <a:ext uri="{FF2B5EF4-FFF2-40B4-BE49-F238E27FC236}">
                  <a16:creationId xmlns:a16="http://schemas.microsoft.com/office/drawing/2014/main" id="{6C0EACEB-9EF2-4666-A737-BC52BAD95CB1}"/>
                </a:ext>
              </a:extLst>
            </p:cNvPr>
            <p:cNvSpPr txBox="1"/>
            <p:nvPr/>
          </p:nvSpPr>
          <p:spPr>
            <a:xfrm>
              <a:off x="1786464" y="3200732"/>
              <a:ext cx="321735" cy="456535"/>
            </a:xfrm>
            <a:prstGeom prst="rect">
              <a:avLst/>
            </a:prstGeom>
            <a:noFill/>
          </p:spPr>
          <p:txBody>
            <a:bodyPr wrap="square">
              <a:spAutoFit/>
            </a:bodyPr>
            <a:lstStyle/>
            <a:p>
              <a:pPr marR="0" lvl="0" defTabSz="914400" rtl="0" eaLnBrk="1" fontAlgn="auto" latinLnBrk="0" hangingPunct="1">
                <a:lnSpc>
                  <a:spcPct val="150000"/>
                </a:lnSpc>
                <a:spcBef>
                  <a:spcPts val="0"/>
                </a:spcBef>
                <a:spcAft>
                  <a:spcPts val="0"/>
                </a:spcAft>
                <a:buClrTx/>
                <a:buSzTx/>
                <a:tabLst/>
                <a:defRPr/>
              </a:pPr>
              <a:r>
                <a:rPr lang="es-CO" b="1" dirty="0">
                  <a:solidFill>
                    <a:srgbClr val="D4BFF8"/>
                  </a:solidFill>
                  <a:latin typeface="Arial" panose="020B0604020202020204" pitchFamily="34" charset="0"/>
                  <a:cs typeface="Arial" panose="020B0604020202020204" pitchFamily="34" charset="0"/>
                </a:rPr>
                <a:t>B</a:t>
              </a:r>
            </a:p>
          </p:txBody>
        </p:sp>
      </p:grpSp>
      <p:sp>
        <p:nvSpPr>
          <p:cNvPr id="16" name="TextBox 15">
            <a:extLst>
              <a:ext uri="{FF2B5EF4-FFF2-40B4-BE49-F238E27FC236}">
                <a16:creationId xmlns:a16="http://schemas.microsoft.com/office/drawing/2014/main" id="{0363F5E5-3982-41A4-BC17-54B86909FA7E}"/>
              </a:ext>
            </a:extLst>
          </p:cNvPr>
          <p:cNvSpPr txBox="1"/>
          <p:nvPr/>
        </p:nvSpPr>
        <p:spPr>
          <a:xfrm>
            <a:off x="884766" y="5208275"/>
            <a:ext cx="10752264" cy="1287532"/>
          </a:xfrm>
          <a:prstGeom prst="rect">
            <a:avLst/>
          </a:prstGeom>
          <a:noFill/>
        </p:spPr>
        <p:txBody>
          <a:bodyPr wrap="square" rtlCol="0">
            <a:spAutoFit/>
          </a:bodyPr>
          <a:lstStyle/>
          <a:p>
            <a:pPr marL="285750" marR="0" lvl="0" indent="-285750"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s-CO" b="1" dirty="0">
                <a:solidFill>
                  <a:schemeClr val="bg1"/>
                </a:solidFill>
                <a:latin typeface="Arial" panose="020B0604020202020204" pitchFamily="34" charset="0"/>
                <a:cs typeface="Arial" panose="020B0604020202020204" pitchFamily="34" charset="0"/>
              </a:rPr>
              <a:t>¡Saquen provecho de sus equipos! Tener diferentes perspectivas de modelo de negocio, tipo de clientes, sector, etc., puede ser muy beneficioso para enriquecer el </a:t>
            </a:r>
            <a:r>
              <a:rPr lang="es-CO" b="1" dirty="0" err="1">
                <a:solidFill>
                  <a:schemeClr val="bg1"/>
                </a:solidFill>
                <a:latin typeface="Arial" panose="020B0604020202020204" pitchFamily="34" charset="0"/>
                <a:cs typeface="Arial" panose="020B0604020202020204" pitchFamily="34" charset="0"/>
              </a:rPr>
              <a:t>customer</a:t>
            </a:r>
            <a:r>
              <a:rPr lang="es-CO" b="1" dirty="0">
                <a:solidFill>
                  <a:schemeClr val="bg1"/>
                </a:solidFill>
                <a:latin typeface="Arial" panose="020B0604020202020204" pitchFamily="34" charset="0"/>
                <a:cs typeface="Arial" panose="020B0604020202020204" pitchFamily="34" charset="0"/>
              </a:rPr>
              <a:t> </a:t>
            </a:r>
            <a:r>
              <a:rPr lang="es-CO" b="1" dirty="0" err="1">
                <a:solidFill>
                  <a:schemeClr val="bg1"/>
                </a:solidFill>
                <a:latin typeface="Arial" panose="020B0604020202020204" pitchFamily="34" charset="0"/>
                <a:cs typeface="Arial" panose="020B0604020202020204" pitchFamily="34" charset="0"/>
              </a:rPr>
              <a:t>journey</a:t>
            </a:r>
            <a:r>
              <a:rPr lang="es-CO" b="1" dirty="0">
                <a:solidFill>
                  <a:schemeClr val="bg1"/>
                </a:solidFill>
                <a:latin typeface="Arial" panose="020B0604020202020204" pitchFamily="34" charset="0"/>
                <a:cs typeface="Arial" panose="020B0604020202020204" pitchFamily="34" charset="0"/>
              </a:rPr>
              <a:t> al encontrar dolores que antes no habían visualizado e incluso posibles soluciones.</a:t>
            </a:r>
            <a:endParaRPr lang="es-CO" b="1" dirty="0">
              <a:solidFill>
                <a:schemeClr val="bg1"/>
              </a:solidFill>
              <a:highlight>
                <a:srgbClr val="EA3A55"/>
              </a:highlight>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49404493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able 11">
            <a:extLst>
              <a:ext uri="{FF2B5EF4-FFF2-40B4-BE49-F238E27FC236}">
                <a16:creationId xmlns:a16="http://schemas.microsoft.com/office/drawing/2014/main" id="{2D8E720F-6750-4EC4-A661-2F27B7876BBF}"/>
              </a:ext>
            </a:extLst>
          </p:cNvPr>
          <p:cNvGraphicFramePr>
            <a:graphicFrameLocks noGrp="1"/>
          </p:cNvGraphicFramePr>
          <p:nvPr>
            <p:extLst>
              <p:ext uri="{D42A27DB-BD31-4B8C-83A1-F6EECF244321}">
                <p14:modId xmlns:p14="http://schemas.microsoft.com/office/powerpoint/2010/main" val="1484001129"/>
              </p:ext>
            </p:extLst>
          </p:nvPr>
        </p:nvGraphicFramePr>
        <p:xfrm>
          <a:off x="856291" y="949181"/>
          <a:ext cx="10710335" cy="5501855"/>
        </p:xfrm>
        <a:graphic>
          <a:graphicData uri="http://schemas.openxmlformats.org/drawingml/2006/table">
            <a:tbl>
              <a:tblPr firstRow="1" firstCol="1" bandRow="1">
                <a:tableStyleId>{1E171933-4619-4E11-9A3F-F7608DF75F80}</a:tableStyleId>
              </a:tblPr>
              <a:tblGrid>
                <a:gridCol w="9648338">
                  <a:extLst>
                    <a:ext uri="{9D8B030D-6E8A-4147-A177-3AD203B41FA5}">
                      <a16:colId xmlns:a16="http://schemas.microsoft.com/office/drawing/2014/main" val="3782948219"/>
                    </a:ext>
                  </a:extLst>
                </a:gridCol>
                <a:gridCol w="1061997">
                  <a:extLst>
                    <a:ext uri="{9D8B030D-6E8A-4147-A177-3AD203B41FA5}">
                      <a16:colId xmlns:a16="http://schemas.microsoft.com/office/drawing/2014/main" val="874268961"/>
                    </a:ext>
                  </a:extLst>
                </a:gridCol>
              </a:tblGrid>
              <a:tr h="331429">
                <a:tc>
                  <a:txBody>
                    <a:bodyPr/>
                    <a:lstStyle/>
                    <a:p>
                      <a:pPr marL="108000">
                        <a:lnSpc>
                          <a:spcPct val="107000"/>
                        </a:lnSpc>
                        <a:spcAft>
                          <a:spcPts val="800"/>
                        </a:spcAft>
                      </a:pPr>
                      <a:r>
                        <a:rPr lang="es-CO" sz="1200" b="1" dirty="0">
                          <a:solidFill>
                            <a:schemeClr val="bg1"/>
                          </a:solidFill>
                          <a:effectLst/>
                        </a:rPr>
                        <a:t>CRITERIOS DE EVALUACION</a:t>
                      </a:r>
                      <a:endParaRPr lang="es-CO" sz="1200" b="1" dirty="0">
                        <a:solidFill>
                          <a:schemeClr val="bg1"/>
                        </a:solidFill>
                        <a:effectLst/>
                        <a:latin typeface="+mn-lt"/>
                        <a:ea typeface="Calibri" panose="020F0502020204030204" pitchFamily="34" charset="0"/>
                        <a:cs typeface="Arial" panose="020B0604020202020204" pitchFamily="34" charset="0"/>
                      </a:endParaRPr>
                    </a:p>
                  </a:txBody>
                  <a:tcPr marL="45720" marR="45720" anchor="ctr"/>
                </a:tc>
                <a:tc>
                  <a:txBody>
                    <a:bodyPr/>
                    <a:lstStyle/>
                    <a:p>
                      <a:pPr marL="108000">
                        <a:lnSpc>
                          <a:spcPct val="107000"/>
                        </a:lnSpc>
                        <a:spcAft>
                          <a:spcPts val="800"/>
                        </a:spcAft>
                      </a:pPr>
                      <a:r>
                        <a:rPr lang="es-CO" sz="1200" b="1" dirty="0">
                          <a:solidFill>
                            <a:schemeClr val="bg1"/>
                          </a:solidFill>
                          <a:effectLst/>
                        </a:rPr>
                        <a:t>PESO</a:t>
                      </a:r>
                      <a:endParaRPr lang="es-CO" sz="1200" b="1" dirty="0">
                        <a:solidFill>
                          <a:schemeClr val="bg1"/>
                        </a:solidFill>
                        <a:effectLst/>
                        <a:latin typeface="+mn-lt"/>
                        <a:ea typeface="Calibri" panose="020F0502020204030204" pitchFamily="34" charset="0"/>
                        <a:cs typeface="Arial" panose="020B0604020202020204" pitchFamily="34" charset="0"/>
                      </a:endParaRPr>
                    </a:p>
                  </a:txBody>
                  <a:tcPr marL="45720" marR="45720" anchor="ctr"/>
                </a:tc>
                <a:extLst>
                  <a:ext uri="{0D108BD9-81ED-4DB2-BD59-A6C34878D82A}">
                    <a16:rowId xmlns:a16="http://schemas.microsoft.com/office/drawing/2014/main" val="3051494158"/>
                  </a:ext>
                </a:extLst>
              </a:tr>
              <a:tr h="894397">
                <a:tc>
                  <a:txBody>
                    <a:bodyPr/>
                    <a:lstStyle/>
                    <a:p>
                      <a:pPr marL="108000">
                        <a:lnSpc>
                          <a:spcPct val="107000"/>
                        </a:lnSpc>
                        <a:spcAft>
                          <a:spcPts val="800"/>
                        </a:spcAft>
                      </a:pPr>
                      <a:r>
                        <a:rPr lang="es-CO" sz="1200" b="1" dirty="0">
                          <a:solidFill>
                            <a:sysClr val="windowText" lastClr="000000"/>
                          </a:solidFill>
                          <a:effectLst/>
                        </a:rPr>
                        <a:t>Claridad de Conceptos </a:t>
                      </a:r>
                    </a:p>
                    <a:p>
                      <a:pPr marL="540000" lvl="0" indent="-180000" algn="just">
                        <a:lnSpc>
                          <a:spcPct val="100000"/>
                        </a:lnSpc>
                        <a:buClr>
                          <a:srgbClr val="FFC000"/>
                        </a:buClr>
                        <a:buFont typeface="Arial" panose="020B0604020202020204" pitchFamily="34" charset="0"/>
                        <a:buChar char="•"/>
                      </a:pPr>
                      <a:r>
                        <a:rPr lang="es-CO" sz="1200" b="0" dirty="0">
                          <a:solidFill>
                            <a:sysClr val="windowText" lastClr="000000"/>
                          </a:solidFill>
                          <a:effectLst/>
                        </a:rPr>
                        <a:t>Incluye toda la información mínima requerida</a:t>
                      </a:r>
                    </a:p>
                    <a:p>
                      <a:pPr marL="540000" lvl="0" indent="-180000" algn="just">
                        <a:lnSpc>
                          <a:spcPct val="100000"/>
                        </a:lnSpc>
                        <a:spcAft>
                          <a:spcPts val="0"/>
                        </a:spcAft>
                        <a:buClr>
                          <a:srgbClr val="FFC000"/>
                        </a:buClr>
                        <a:buFont typeface="Arial" panose="020B0604020202020204" pitchFamily="34" charset="0"/>
                        <a:buChar char="•"/>
                      </a:pPr>
                      <a:r>
                        <a:rPr lang="es-CO" sz="1200" b="0" dirty="0">
                          <a:solidFill>
                            <a:sysClr val="windowText" lastClr="000000"/>
                          </a:solidFill>
                          <a:effectLst/>
                        </a:rPr>
                        <a:t>Conceptos claros y directos gracias al uso de imágenes, palabras, formatos idóneos y creativos. </a:t>
                      </a:r>
                    </a:p>
                    <a:p>
                      <a:pPr marL="540000" lvl="0" indent="-180000" algn="just">
                        <a:lnSpc>
                          <a:spcPct val="100000"/>
                        </a:lnSpc>
                        <a:spcAft>
                          <a:spcPts val="0"/>
                        </a:spcAft>
                        <a:buClr>
                          <a:srgbClr val="FFC000"/>
                        </a:buClr>
                        <a:buFont typeface="Arial" panose="020B0604020202020204" pitchFamily="34" charset="0"/>
                        <a:buChar char="•"/>
                      </a:pPr>
                      <a:r>
                        <a:rPr lang="es-CO" sz="1200" b="0" dirty="0">
                          <a:solidFill>
                            <a:sysClr val="windowText" lastClr="000000"/>
                          </a:solidFill>
                          <a:effectLst/>
                        </a:rPr>
                        <a:t>Existe coherencia entre la caracterización de la persona y el </a:t>
                      </a:r>
                      <a:r>
                        <a:rPr lang="es-CO" sz="1200" b="0" dirty="0" err="1">
                          <a:solidFill>
                            <a:sysClr val="windowText" lastClr="000000"/>
                          </a:solidFill>
                          <a:effectLst/>
                        </a:rPr>
                        <a:t>customer</a:t>
                      </a:r>
                      <a:r>
                        <a:rPr lang="es-CO" sz="1200" b="0" dirty="0">
                          <a:solidFill>
                            <a:sysClr val="windowText" lastClr="000000"/>
                          </a:solidFill>
                          <a:effectLst/>
                        </a:rPr>
                        <a:t> </a:t>
                      </a:r>
                      <a:r>
                        <a:rPr lang="es-CO" sz="1200" b="0" dirty="0" err="1">
                          <a:solidFill>
                            <a:sysClr val="windowText" lastClr="000000"/>
                          </a:solidFill>
                          <a:effectLst/>
                        </a:rPr>
                        <a:t>joruney</a:t>
                      </a:r>
                      <a:r>
                        <a:rPr lang="es-CO" sz="1200" b="0" dirty="0">
                          <a:solidFill>
                            <a:sysClr val="windowText" lastClr="000000"/>
                          </a:solidFill>
                          <a:effectLst/>
                        </a:rPr>
                        <a:t>, es decir, se evidencia que el viaje fue diseñado específicamente para esa persona y no solo es un recorrido general que se adaptaría a cualquier tipo de cliente.</a:t>
                      </a:r>
                    </a:p>
                  </a:txBody>
                  <a:tcPr marL="45720" marR="45720" anchor="ctr"/>
                </a:tc>
                <a:tc>
                  <a:txBody>
                    <a:bodyPr/>
                    <a:lstStyle/>
                    <a:p>
                      <a:pPr marL="0" lvl="0" indent="0" algn="ctr">
                        <a:lnSpc>
                          <a:spcPct val="107000"/>
                        </a:lnSpc>
                        <a:spcAft>
                          <a:spcPts val="800"/>
                        </a:spcAft>
                        <a:buFont typeface="Symbol" panose="05050102010706020507" pitchFamily="18" charset="2"/>
                        <a:buNone/>
                      </a:pPr>
                      <a:r>
                        <a:rPr lang="es-CO" sz="1400" b="0" dirty="0">
                          <a:solidFill>
                            <a:sysClr val="windowText" lastClr="000000"/>
                          </a:solidFill>
                          <a:effectLst/>
                        </a:rPr>
                        <a:t>20%</a:t>
                      </a:r>
                      <a:endParaRPr lang="es-CO" sz="1400" b="0" dirty="0">
                        <a:solidFill>
                          <a:sysClr val="windowText" lastClr="000000"/>
                        </a:solidFill>
                        <a:effectLst/>
                        <a:latin typeface="+mn-lt"/>
                        <a:ea typeface="Calibri" panose="020F0502020204030204" pitchFamily="34" charset="0"/>
                        <a:cs typeface="Arial" panose="020B0604020202020204" pitchFamily="34" charset="0"/>
                      </a:endParaRPr>
                    </a:p>
                  </a:txBody>
                  <a:tcPr marL="45720" marR="45720" anchor="ctr"/>
                </a:tc>
                <a:extLst>
                  <a:ext uri="{0D108BD9-81ED-4DB2-BD59-A6C34878D82A}">
                    <a16:rowId xmlns:a16="http://schemas.microsoft.com/office/drawing/2014/main" val="307772462"/>
                  </a:ext>
                </a:extLst>
              </a:tr>
              <a:tr h="730871">
                <a:tc>
                  <a:txBody>
                    <a:bodyPr/>
                    <a:lstStyle/>
                    <a:p>
                      <a:pPr marL="108000">
                        <a:lnSpc>
                          <a:spcPct val="107000"/>
                        </a:lnSpc>
                        <a:spcAft>
                          <a:spcPts val="800"/>
                        </a:spcAft>
                      </a:pPr>
                      <a:r>
                        <a:rPr lang="es-CO" sz="1200" b="1" dirty="0">
                          <a:solidFill>
                            <a:sysClr val="windowText" lastClr="000000"/>
                          </a:solidFill>
                          <a:effectLst/>
                        </a:rPr>
                        <a:t>Usos de las palabras clave</a:t>
                      </a:r>
                    </a:p>
                    <a:p>
                      <a:pPr marL="540000" lvl="0" indent="-180000" algn="just" defTabSz="914400" rtl="0" eaLnBrk="1" latinLnBrk="0" hangingPunct="1">
                        <a:lnSpc>
                          <a:spcPct val="107000"/>
                        </a:lnSpc>
                        <a:buClr>
                          <a:srgbClr val="FFC000"/>
                        </a:buClr>
                        <a:buFont typeface="Arial" panose="020B0604020202020204" pitchFamily="34" charset="0"/>
                        <a:buChar char="•"/>
                      </a:pPr>
                      <a:r>
                        <a:rPr lang="es-CO" sz="1200" b="0" kern="1200" dirty="0">
                          <a:solidFill>
                            <a:sysClr val="windowText" lastClr="000000"/>
                          </a:solidFill>
                          <a:effectLst/>
                        </a:rPr>
                        <a:t>Utiliza palabras clave que resumen de forma clara y directa la información.</a:t>
                      </a:r>
                    </a:p>
                    <a:p>
                      <a:pPr marL="540000" lvl="0" indent="-180000" algn="just" defTabSz="914400" rtl="0" eaLnBrk="1" latinLnBrk="0" hangingPunct="1">
                        <a:lnSpc>
                          <a:spcPct val="107000"/>
                        </a:lnSpc>
                        <a:spcAft>
                          <a:spcPts val="800"/>
                        </a:spcAft>
                        <a:buClr>
                          <a:srgbClr val="FFC000"/>
                        </a:buClr>
                        <a:buFont typeface="Arial" panose="020B0604020202020204" pitchFamily="34" charset="0"/>
                        <a:buChar char="•"/>
                      </a:pPr>
                      <a:r>
                        <a:rPr lang="es-CO" sz="1200" b="0" kern="1200" dirty="0">
                          <a:solidFill>
                            <a:sysClr val="windowText" lastClr="000000"/>
                          </a:solidFill>
                          <a:effectLst/>
                        </a:rPr>
                        <a:t>Las palabras claves permiten realizar asociaciones con claridad.</a:t>
                      </a:r>
                      <a:endParaRPr lang="es-CO" sz="1200" b="0" kern="1200" dirty="0">
                        <a:solidFill>
                          <a:sysClr val="windowText" lastClr="000000"/>
                        </a:solidFill>
                        <a:effectLst/>
                        <a:latin typeface="+mn-lt"/>
                        <a:ea typeface="+mn-ea"/>
                        <a:cs typeface="+mn-cs"/>
                      </a:endParaRPr>
                    </a:p>
                  </a:txBody>
                  <a:tcPr marL="45720" marR="45720" anchor="ctr"/>
                </a:tc>
                <a:tc>
                  <a:txBody>
                    <a:bodyPr/>
                    <a:lstStyle/>
                    <a:p>
                      <a:pPr marL="0" lvl="0" indent="0" algn="ctr">
                        <a:lnSpc>
                          <a:spcPct val="107000"/>
                        </a:lnSpc>
                        <a:spcAft>
                          <a:spcPts val="800"/>
                        </a:spcAft>
                        <a:buFont typeface="Symbol" panose="05050102010706020507" pitchFamily="18" charset="2"/>
                        <a:buNone/>
                      </a:pPr>
                      <a:r>
                        <a:rPr lang="es-CO" sz="1400" b="0">
                          <a:solidFill>
                            <a:sysClr val="windowText" lastClr="000000"/>
                          </a:solidFill>
                          <a:effectLst/>
                        </a:rPr>
                        <a:t>10%</a:t>
                      </a:r>
                      <a:endParaRPr lang="es-CO" sz="1400" b="0">
                        <a:solidFill>
                          <a:sysClr val="windowText" lastClr="000000"/>
                        </a:solidFill>
                        <a:effectLst/>
                        <a:latin typeface="+mn-lt"/>
                        <a:ea typeface="Calibri" panose="020F0502020204030204" pitchFamily="34" charset="0"/>
                        <a:cs typeface="Arial" panose="020B0604020202020204" pitchFamily="34" charset="0"/>
                      </a:endParaRPr>
                    </a:p>
                  </a:txBody>
                  <a:tcPr marL="45720" marR="45720" anchor="ctr"/>
                </a:tc>
                <a:extLst>
                  <a:ext uri="{0D108BD9-81ED-4DB2-BD59-A6C34878D82A}">
                    <a16:rowId xmlns:a16="http://schemas.microsoft.com/office/drawing/2014/main" val="1619450753"/>
                  </a:ext>
                </a:extLst>
              </a:tr>
              <a:tr h="730871">
                <a:tc>
                  <a:txBody>
                    <a:bodyPr/>
                    <a:lstStyle/>
                    <a:p>
                      <a:pPr marL="108000">
                        <a:lnSpc>
                          <a:spcPct val="107000"/>
                        </a:lnSpc>
                        <a:spcAft>
                          <a:spcPts val="800"/>
                        </a:spcAft>
                      </a:pPr>
                      <a:r>
                        <a:rPr lang="es-CO" sz="1200" b="1" dirty="0">
                          <a:solidFill>
                            <a:sysClr val="windowText" lastClr="000000"/>
                          </a:solidFill>
                          <a:effectLst/>
                        </a:rPr>
                        <a:t>Profundidad de contenidos</a:t>
                      </a:r>
                    </a:p>
                    <a:p>
                      <a:pPr marL="540000" marR="0" lvl="0" indent="-180000" algn="just" defTabSz="914400" rtl="0" eaLnBrk="1" fontAlgn="auto" latinLnBrk="0" hangingPunct="1">
                        <a:lnSpc>
                          <a:spcPct val="107000"/>
                        </a:lnSpc>
                        <a:spcBef>
                          <a:spcPts val="0"/>
                        </a:spcBef>
                        <a:spcAft>
                          <a:spcPts val="0"/>
                        </a:spcAft>
                        <a:buClr>
                          <a:srgbClr val="FFC000"/>
                        </a:buClr>
                        <a:buSzTx/>
                        <a:buFont typeface="Arial" panose="020B0604020202020204" pitchFamily="34" charset="0"/>
                        <a:buChar char="•"/>
                        <a:tabLst/>
                        <a:defRPr/>
                      </a:pPr>
                      <a:r>
                        <a:rPr lang="es-CO" sz="1200" b="0" kern="1200" dirty="0">
                          <a:solidFill>
                            <a:sysClr val="windowText" lastClr="000000"/>
                          </a:solidFill>
                          <a:effectLst/>
                          <a:latin typeface="+mn-lt"/>
                          <a:ea typeface="+mn-ea"/>
                          <a:cs typeface="+mn-cs"/>
                        </a:rPr>
                        <a:t>Demuestra manejo de la herramienta presentada en clase “</a:t>
                      </a:r>
                      <a:r>
                        <a:rPr lang="es-CO" sz="1200" b="0" kern="1200" dirty="0" err="1">
                          <a:solidFill>
                            <a:sysClr val="windowText" lastClr="000000"/>
                          </a:solidFill>
                          <a:effectLst/>
                          <a:latin typeface="+mn-lt"/>
                          <a:ea typeface="+mn-ea"/>
                          <a:cs typeface="+mn-cs"/>
                        </a:rPr>
                        <a:t>customer</a:t>
                      </a:r>
                      <a:r>
                        <a:rPr lang="es-CO" sz="1200" b="0" kern="1200" dirty="0">
                          <a:solidFill>
                            <a:sysClr val="windowText" lastClr="000000"/>
                          </a:solidFill>
                          <a:effectLst/>
                          <a:latin typeface="+mn-lt"/>
                          <a:ea typeface="+mn-ea"/>
                          <a:cs typeface="+mn-cs"/>
                        </a:rPr>
                        <a:t> </a:t>
                      </a:r>
                      <a:r>
                        <a:rPr lang="es-CO" sz="1200" b="0" kern="1200" dirty="0" err="1">
                          <a:solidFill>
                            <a:sysClr val="windowText" lastClr="000000"/>
                          </a:solidFill>
                          <a:effectLst/>
                          <a:latin typeface="+mn-lt"/>
                          <a:ea typeface="+mn-ea"/>
                          <a:cs typeface="+mn-cs"/>
                        </a:rPr>
                        <a:t>journey</a:t>
                      </a:r>
                      <a:r>
                        <a:rPr lang="es-CO" sz="1200" b="0" kern="1200" dirty="0">
                          <a:solidFill>
                            <a:sysClr val="windowText" lastClr="000000"/>
                          </a:solidFill>
                          <a:effectLst/>
                          <a:latin typeface="+mn-lt"/>
                          <a:ea typeface="+mn-ea"/>
                          <a:cs typeface="+mn-cs"/>
                        </a:rPr>
                        <a:t>” y “persona”</a:t>
                      </a:r>
                    </a:p>
                    <a:p>
                      <a:pPr marL="540000" marR="0" lvl="0" indent="-180000" algn="just" defTabSz="914400" rtl="0" eaLnBrk="1" fontAlgn="auto" latinLnBrk="0" hangingPunct="1">
                        <a:lnSpc>
                          <a:spcPct val="107000"/>
                        </a:lnSpc>
                        <a:spcBef>
                          <a:spcPts val="0"/>
                        </a:spcBef>
                        <a:spcAft>
                          <a:spcPts val="0"/>
                        </a:spcAft>
                        <a:buClr>
                          <a:srgbClr val="FFC000"/>
                        </a:buClr>
                        <a:buSzTx/>
                        <a:buFont typeface="Arial" panose="020B0604020202020204" pitchFamily="34" charset="0"/>
                        <a:buChar char="•"/>
                        <a:tabLst/>
                        <a:defRPr/>
                      </a:pPr>
                      <a:r>
                        <a:rPr lang="es-CO" sz="1200" b="0" kern="1200" dirty="0">
                          <a:solidFill>
                            <a:sysClr val="windowText" lastClr="000000"/>
                          </a:solidFill>
                          <a:effectLst/>
                          <a:latin typeface="+mn-lt"/>
                          <a:ea typeface="+mn-ea"/>
                          <a:cs typeface="+mn-cs"/>
                        </a:rPr>
                        <a:t>Se especifica si se trata de una persona basada en datos (se puede incluir una descripción de la procedencia de los datos) o si es ficticia.</a:t>
                      </a:r>
                    </a:p>
                    <a:p>
                      <a:pPr marL="540000" marR="0" lvl="0" indent="-180000" algn="just" defTabSz="914400" rtl="0" eaLnBrk="1" fontAlgn="auto" latinLnBrk="0" hangingPunct="1">
                        <a:lnSpc>
                          <a:spcPct val="107000"/>
                        </a:lnSpc>
                        <a:spcBef>
                          <a:spcPts val="0"/>
                        </a:spcBef>
                        <a:spcAft>
                          <a:spcPts val="0"/>
                        </a:spcAft>
                        <a:buClr>
                          <a:srgbClr val="FFC000"/>
                        </a:buClr>
                        <a:buSzTx/>
                        <a:buFont typeface="Arial" panose="020B0604020202020204" pitchFamily="34" charset="0"/>
                        <a:buChar char="•"/>
                        <a:tabLst/>
                        <a:defRPr/>
                      </a:pPr>
                      <a:r>
                        <a:rPr lang="es-CO" sz="1200" b="0" kern="1200" dirty="0">
                          <a:solidFill>
                            <a:sysClr val="windowText" lastClr="000000"/>
                          </a:solidFill>
                          <a:effectLst/>
                          <a:latin typeface="+mn-lt"/>
                          <a:ea typeface="+mn-ea"/>
                          <a:cs typeface="+mn-cs"/>
                        </a:rPr>
                        <a:t>Hace referencia a los conceptos impartidos en otros ciclos de formación (si aplica)</a:t>
                      </a:r>
                    </a:p>
                    <a:p>
                      <a:pPr marL="540000" lvl="0" indent="-180000" algn="just" defTabSz="914400" rtl="0" eaLnBrk="1" latinLnBrk="0" hangingPunct="1">
                        <a:lnSpc>
                          <a:spcPct val="107000"/>
                        </a:lnSpc>
                        <a:spcAft>
                          <a:spcPts val="0"/>
                        </a:spcAft>
                        <a:buClr>
                          <a:srgbClr val="FFC000"/>
                        </a:buClr>
                        <a:buFont typeface="Arial" panose="020B0604020202020204" pitchFamily="34" charset="0"/>
                        <a:buChar char="•"/>
                      </a:pPr>
                      <a:r>
                        <a:rPr lang="es-CO" sz="1200" b="0" kern="1200" dirty="0">
                          <a:solidFill>
                            <a:sysClr val="windowText" lastClr="000000"/>
                          </a:solidFill>
                          <a:effectLst/>
                        </a:rPr>
                        <a:t>Utiliza contenidos adicionales a los presentados en clase para enriquecer el ejercicio. (si aplica)</a:t>
                      </a:r>
                    </a:p>
                  </a:txBody>
                  <a:tcPr marL="45720" marR="45720" anchor="ctr"/>
                </a:tc>
                <a:tc>
                  <a:txBody>
                    <a:bodyPr/>
                    <a:lstStyle/>
                    <a:p>
                      <a:pPr marL="0" lvl="0" indent="0" algn="ctr">
                        <a:lnSpc>
                          <a:spcPct val="107000"/>
                        </a:lnSpc>
                        <a:spcAft>
                          <a:spcPts val="800"/>
                        </a:spcAft>
                        <a:buFont typeface="Symbol" panose="05050102010706020507" pitchFamily="18" charset="2"/>
                        <a:buNone/>
                      </a:pPr>
                      <a:r>
                        <a:rPr lang="es-CO" sz="1400" b="0" dirty="0">
                          <a:solidFill>
                            <a:sysClr val="windowText" lastClr="000000"/>
                          </a:solidFill>
                          <a:effectLst/>
                        </a:rPr>
                        <a:t>15%</a:t>
                      </a:r>
                      <a:endParaRPr lang="es-CO" sz="1400" b="0" dirty="0">
                        <a:solidFill>
                          <a:sysClr val="windowText" lastClr="000000"/>
                        </a:solidFill>
                        <a:effectLst/>
                        <a:latin typeface="+mn-lt"/>
                        <a:ea typeface="Calibri" panose="020F0502020204030204" pitchFamily="34" charset="0"/>
                        <a:cs typeface="Arial" panose="020B0604020202020204" pitchFamily="34" charset="0"/>
                      </a:endParaRPr>
                    </a:p>
                  </a:txBody>
                  <a:tcPr marL="45720" marR="45720" anchor="ctr"/>
                </a:tc>
                <a:extLst>
                  <a:ext uri="{0D108BD9-81ED-4DB2-BD59-A6C34878D82A}">
                    <a16:rowId xmlns:a16="http://schemas.microsoft.com/office/drawing/2014/main" val="513827160"/>
                  </a:ext>
                </a:extLst>
              </a:tr>
              <a:tr h="730871">
                <a:tc>
                  <a:txBody>
                    <a:bodyPr/>
                    <a:lstStyle/>
                    <a:p>
                      <a:pPr marL="108000">
                        <a:lnSpc>
                          <a:spcPct val="107000"/>
                        </a:lnSpc>
                        <a:spcAft>
                          <a:spcPts val="800"/>
                        </a:spcAft>
                      </a:pPr>
                      <a:r>
                        <a:rPr lang="es-CO" sz="1200" b="1" dirty="0">
                          <a:solidFill>
                            <a:sysClr val="windowText" lastClr="000000"/>
                          </a:solidFill>
                          <a:effectLst/>
                        </a:rPr>
                        <a:t>Ortografía, puntuación, redacción y gramática</a:t>
                      </a:r>
                      <a:endParaRPr lang="es-CO" sz="1200" b="0" dirty="0">
                        <a:solidFill>
                          <a:sysClr val="windowText" lastClr="000000"/>
                        </a:solidFill>
                        <a:effectLst/>
                      </a:endParaRPr>
                    </a:p>
                    <a:p>
                      <a:pPr marL="540000" lvl="0" indent="-180000" algn="just" defTabSz="914400" rtl="0" eaLnBrk="1" latinLnBrk="0" hangingPunct="1">
                        <a:lnSpc>
                          <a:spcPct val="107000"/>
                        </a:lnSpc>
                        <a:buClr>
                          <a:srgbClr val="FFC000"/>
                        </a:buClr>
                        <a:buFont typeface="Arial" panose="020B0604020202020204" pitchFamily="34" charset="0"/>
                        <a:buChar char="•"/>
                      </a:pPr>
                      <a:r>
                        <a:rPr lang="es-CO" sz="1200" b="0" kern="1200" dirty="0">
                          <a:solidFill>
                            <a:sysClr val="windowText" lastClr="000000"/>
                          </a:solidFill>
                          <a:effectLst/>
                        </a:rPr>
                        <a:t>No hay fallas ortográficas.</a:t>
                      </a:r>
                    </a:p>
                    <a:p>
                      <a:pPr marL="540000" lvl="0" indent="-180000" algn="just" defTabSz="914400" rtl="0" eaLnBrk="1" latinLnBrk="0" hangingPunct="1">
                        <a:lnSpc>
                          <a:spcPct val="107000"/>
                        </a:lnSpc>
                        <a:spcAft>
                          <a:spcPts val="800"/>
                        </a:spcAft>
                        <a:buClr>
                          <a:srgbClr val="FFC000"/>
                        </a:buClr>
                        <a:buFont typeface="Arial" panose="020B0604020202020204" pitchFamily="34" charset="0"/>
                        <a:buChar char="•"/>
                      </a:pPr>
                      <a:r>
                        <a:rPr lang="es-CO" sz="1200" b="0" kern="1200" dirty="0">
                          <a:solidFill>
                            <a:sysClr val="windowText" lastClr="000000"/>
                          </a:solidFill>
                          <a:effectLst/>
                        </a:rPr>
                        <a:t>La redacción, síntesis, vocabulario son adecuados.</a:t>
                      </a:r>
                      <a:endParaRPr lang="es-CO" sz="1200" b="0" kern="1200" dirty="0">
                        <a:solidFill>
                          <a:sysClr val="windowText" lastClr="000000"/>
                        </a:solidFill>
                        <a:effectLst/>
                        <a:latin typeface="+mn-lt"/>
                        <a:ea typeface="+mn-ea"/>
                        <a:cs typeface="+mn-cs"/>
                      </a:endParaRPr>
                    </a:p>
                  </a:txBody>
                  <a:tcPr marL="45720" marR="45720" anchor="ctr"/>
                </a:tc>
                <a:tc>
                  <a:txBody>
                    <a:bodyPr/>
                    <a:lstStyle/>
                    <a:p>
                      <a:pPr marL="0" lvl="0" indent="0" algn="ctr">
                        <a:lnSpc>
                          <a:spcPct val="107000"/>
                        </a:lnSpc>
                        <a:spcAft>
                          <a:spcPts val="800"/>
                        </a:spcAft>
                        <a:buFont typeface="Symbol" panose="05050102010706020507" pitchFamily="18" charset="2"/>
                        <a:buNone/>
                      </a:pPr>
                      <a:r>
                        <a:rPr lang="es-CO" sz="1400" b="0">
                          <a:solidFill>
                            <a:sysClr val="windowText" lastClr="000000"/>
                          </a:solidFill>
                          <a:effectLst/>
                        </a:rPr>
                        <a:t>5%</a:t>
                      </a:r>
                      <a:endParaRPr lang="es-CO" sz="1400" b="0">
                        <a:solidFill>
                          <a:sysClr val="windowText" lastClr="000000"/>
                        </a:solidFill>
                        <a:effectLst/>
                        <a:latin typeface="+mn-lt"/>
                        <a:ea typeface="Calibri" panose="020F0502020204030204" pitchFamily="34" charset="0"/>
                        <a:cs typeface="Arial" panose="020B0604020202020204" pitchFamily="34" charset="0"/>
                      </a:endParaRPr>
                    </a:p>
                  </a:txBody>
                  <a:tcPr marL="45720" marR="45720" anchor="ctr"/>
                </a:tc>
                <a:extLst>
                  <a:ext uri="{0D108BD9-81ED-4DB2-BD59-A6C34878D82A}">
                    <a16:rowId xmlns:a16="http://schemas.microsoft.com/office/drawing/2014/main" val="2607715351"/>
                  </a:ext>
                </a:extLst>
              </a:tr>
              <a:tr h="917603">
                <a:tc>
                  <a:txBody>
                    <a:bodyPr/>
                    <a:lstStyle/>
                    <a:p>
                      <a:pPr marL="108000">
                        <a:lnSpc>
                          <a:spcPct val="107000"/>
                        </a:lnSpc>
                        <a:spcAft>
                          <a:spcPts val="800"/>
                        </a:spcAft>
                      </a:pPr>
                      <a:r>
                        <a:rPr lang="es-CO" sz="1200" b="1" dirty="0">
                          <a:solidFill>
                            <a:sysClr val="windowText" lastClr="000000"/>
                          </a:solidFill>
                          <a:effectLst/>
                        </a:rPr>
                        <a:t>Adherencia al perfil de campeona</a:t>
                      </a:r>
                    </a:p>
                    <a:p>
                      <a:pPr marL="540000" lvl="0" indent="-180000" algn="just" defTabSz="914400" rtl="0" eaLnBrk="1" latinLnBrk="0" hangingPunct="1">
                        <a:lnSpc>
                          <a:spcPct val="107000"/>
                        </a:lnSpc>
                        <a:buClr>
                          <a:srgbClr val="FFC000"/>
                        </a:buClr>
                        <a:buFont typeface="Arial" panose="020B0604020202020204" pitchFamily="34" charset="0"/>
                        <a:buChar char="•"/>
                      </a:pPr>
                      <a:r>
                        <a:rPr lang="es-CO" sz="1200" b="0" kern="1200" dirty="0">
                          <a:solidFill>
                            <a:sysClr val="windowText" lastClr="000000"/>
                          </a:solidFill>
                          <a:effectLst/>
                        </a:rPr>
                        <a:t>Demuestra el desarrollo/aplicación de las características especificadas en el perfil de campeona.</a:t>
                      </a:r>
                    </a:p>
                    <a:p>
                      <a:pPr marL="540000" lvl="0" indent="-180000" algn="just" defTabSz="914400" rtl="0" eaLnBrk="1" latinLnBrk="0" hangingPunct="1">
                        <a:lnSpc>
                          <a:spcPct val="107000"/>
                        </a:lnSpc>
                        <a:buClr>
                          <a:srgbClr val="FFC000"/>
                        </a:buClr>
                        <a:buFont typeface="Arial" panose="020B0604020202020204" pitchFamily="34" charset="0"/>
                        <a:buChar char="•"/>
                      </a:pPr>
                      <a:r>
                        <a:rPr lang="es-CO" sz="1200" b="0" kern="1200" dirty="0">
                          <a:solidFill>
                            <a:sysClr val="windowText" lastClr="000000"/>
                          </a:solidFill>
                          <a:effectLst/>
                        </a:rPr>
                        <a:t>Incluye una breve descripción de la empresa y sus clientes (100 palabras máximo)</a:t>
                      </a:r>
                    </a:p>
                    <a:p>
                      <a:pPr marL="540000" lvl="0" indent="-180000" algn="just" defTabSz="914400" rtl="0" eaLnBrk="1" latinLnBrk="0" hangingPunct="1">
                        <a:lnSpc>
                          <a:spcPct val="107000"/>
                        </a:lnSpc>
                        <a:buClr>
                          <a:srgbClr val="FFC000"/>
                        </a:buClr>
                        <a:buFont typeface="Arial" panose="020B0604020202020204" pitchFamily="34" charset="0"/>
                        <a:buChar char="•"/>
                      </a:pPr>
                      <a:r>
                        <a:rPr lang="es-CO" sz="1200" b="0" kern="1200" dirty="0">
                          <a:solidFill>
                            <a:sysClr val="windowText" lastClr="000000"/>
                          </a:solidFill>
                          <a:effectLst/>
                        </a:rPr>
                        <a:t>El </a:t>
                      </a:r>
                      <a:r>
                        <a:rPr lang="es-CO" sz="1200" b="0" kern="1200" dirty="0" err="1">
                          <a:solidFill>
                            <a:sysClr val="windowText" lastClr="000000"/>
                          </a:solidFill>
                          <a:effectLst/>
                        </a:rPr>
                        <a:t>customer</a:t>
                      </a:r>
                      <a:r>
                        <a:rPr lang="es-CO" sz="1200" b="0" kern="1200" dirty="0">
                          <a:solidFill>
                            <a:sysClr val="windowText" lastClr="000000"/>
                          </a:solidFill>
                          <a:effectLst/>
                        </a:rPr>
                        <a:t> </a:t>
                      </a:r>
                      <a:r>
                        <a:rPr lang="es-CO" sz="1200" b="0" kern="1200" dirty="0" err="1">
                          <a:solidFill>
                            <a:sysClr val="windowText" lastClr="000000"/>
                          </a:solidFill>
                          <a:effectLst/>
                        </a:rPr>
                        <a:t>journey</a:t>
                      </a:r>
                      <a:r>
                        <a:rPr lang="es-CO" sz="1200" b="0" kern="1200" dirty="0">
                          <a:solidFill>
                            <a:sysClr val="windowText" lastClr="000000"/>
                          </a:solidFill>
                          <a:effectLst/>
                        </a:rPr>
                        <a:t> presentado corresponde a un cliente en el exterior. Esto se debe evidenciar a través de la descripción de la persona donde se debe especificar si corresponde a un segmento de cliente actual o potencial.   </a:t>
                      </a:r>
                      <a:endParaRPr lang="es-CO" sz="1200" b="0" kern="1200" dirty="0">
                        <a:solidFill>
                          <a:sysClr val="windowText" lastClr="000000"/>
                        </a:solidFill>
                        <a:effectLst/>
                        <a:latin typeface="+mn-lt"/>
                        <a:ea typeface="+mn-ea"/>
                        <a:cs typeface="+mn-cs"/>
                      </a:endParaRPr>
                    </a:p>
                  </a:txBody>
                  <a:tcPr marL="45720" marR="45720" anchor="ctr"/>
                </a:tc>
                <a:tc>
                  <a:txBody>
                    <a:bodyPr/>
                    <a:lstStyle/>
                    <a:p>
                      <a:pPr marL="0" lvl="0" indent="0" algn="ctr">
                        <a:lnSpc>
                          <a:spcPct val="107000"/>
                        </a:lnSpc>
                        <a:spcAft>
                          <a:spcPts val="800"/>
                        </a:spcAft>
                        <a:buFont typeface="Symbol" panose="05050102010706020507" pitchFamily="18" charset="2"/>
                        <a:buNone/>
                      </a:pPr>
                      <a:r>
                        <a:rPr lang="es-CO" sz="1400" b="0" dirty="0">
                          <a:solidFill>
                            <a:sysClr val="windowText" lastClr="000000"/>
                          </a:solidFill>
                          <a:effectLst/>
                        </a:rPr>
                        <a:t>50%</a:t>
                      </a:r>
                      <a:endParaRPr lang="es-CO" sz="1400" b="0" dirty="0">
                        <a:solidFill>
                          <a:sysClr val="windowText" lastClr="000000"/>
                        </a:solidFill>
                        <a:effectLst/>
                        <a:latin typeface="+mn-lt"/>
                        <a:ea typeface="Calibri" panose="020F0502020204030204" pitchFamily="34" charset="0"/>
                        <a:cs typeface="Arial" panose="020B0604020202020204" pitchFamily="34" charset="0"/>
                      </a:endParaRPr>
                    </a:p>
                  </a:txBody>
                  <a:tcPr marL="45720" marR="45720" anchor="ctr"/>
                </a:tc>
                <a:extLst>
                  <a:ext uri="{0D108BD9-81ED-4DB2-BD59-A6C34878D82A}">
                    <a16:rowId xmlns:a16="http://schemas.microsoft.com/office/drawing/2014/main" val="1148464321"/>
                  </a:ext>
                </a:extLst>
              </a:tr>
            </a:tbl>
          </a:graphicData>
        </a:graphic>
      </p:graphicFrame>
    </p:spTree>
    <p:extLst>
      <p:ext uri="{BB962C8B-B14F-4D97-AF65-F5344CB8AC3E}">
        <p14:creationId xmlns:p14="http://schemas.microsoft.com/office/powerpoint/2010/main" val="42155509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g1zyUykInx.urylw2A3z0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xcG9Mc56GFxoq7BWvWbla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Y dark background">
  <a:themeElements>
    <a:clrScheme name="EY Color">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C4F6F202B989444B8E513D90358DBD5" ma:contentTypeVersion="13" ma:contentTypeDescription="Create a new document." ma:contentTypeScope="" ma:versionID="a5a65e935e1dddc96805a3052a4bc168">
  <xsd:schema xmlns:xsd="http://www.w3.org/2001/XMLSchema" xmlns:xs="http://www.w3.org/2001/XMLSchema" xmlns:p="http://schemas.microsoft.com/office/2006/metadata/properties" xmlns:ns2="f7497011-41e9-4539-8eaa-a91e26322fc1" xmlns:ns3="36ab4214-ab26-4180-94f5-c882e3796056" targetNamespace="http://schemas.microsoft.com/office/2006/metadata/properties" ma:root="true" ma:fieldsID="c2bc6ae20514a2e6100e2a685aa51a78" ns2:_="" ns3:_="">
    <xsd:import namespace="f7497011-41e9-4539-8eaa-a91e26322fc1"/>
    <xsd:import namespace="36ab4214-ab26-4180-94f5-c882e3796056"/>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ServiceDateTaken" minOccurs="0"/>
                <xsd:element ref="ns2:MediaServiceLocation" minOccurs="0"/>
                <xsd:element ref="ns3:SharedWithUsers" minOccurs="0"/>
                <xsd:element ref="ns3:SharedWithDetail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7497011-41e9-4539-8eaa-a91e26322fc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36ab4214-ab26-4180-94f5-c882e3796056"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36ab4214-ab26-4180-94f5-c882e3796056">
      <UserInfo>
        <DisplayName>Monica Betancourt</DisplayName>
        <AccountId>14</AccountId>
        <AccountType/>
      </UserInfo>
      <UserInfo>
        <DisplayName>Santiago Peña Pacheco</DisplayName>
        <AccountId>63</AccountId>
        <AccountType/>
      </UserInfo>
      <UserInfo>
        <DisplayName>Katerine Schifino</DisplayName>
        <AccountId>16</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D5F96CA-E124-41F1-ADD3-769E009E5DA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7497011-41e9-4539-8eaa-a91e26322fc1"/>
    <ds:schemaRef ds:uri="36ab4214-ab26-4180-94f5-c882e379605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2397B2F-AA3E-4435-ABBB-477580938829}">
  <ds:schemaRefs>
    <ds:schemaRef ds:uri="http://purl.org/dc/elements/1.1/"/>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f7497011-41e9-4539-8eaa-a91e26322fc1"/>
    <ds:schemaRef ds:uri="36ab4214-ab26-4180-94f5-c882e3796056"/>
    <ds:schemaRef ds:uri="http://www.w3.org/XML/1998/namespace"/>
    <ds:schemaRef ds:uri="http://purl.org/dc/dcmitype/"/>
  </ds:schemaRefs>
</ds:datastoreItem>
</file>

<file path=customXml/itemProps3.xml><?xml version="1.0" encoding="utf-8"?>
<ds:datastoreItem xmlns:ds="http://schemas.openxmlformats.org/officeDocument/2006/customXml" ds:itemID="{5FEBD0AE-4C18-4A23-B4DC-6E6B1C1ACE7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2047</TotalTime>
  <Words>988</Words>
  <Application>Microsoft Office PowerPoint</Application>
  <PresentationFormat>Widescreen</PresentationFormat>
  <Paragraphs>113</Paragraphs>
  <Slides>9</Slides>
  <Notes>9</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9</vt:i4>
      </vt:variant>
    </vt:vector>
  </HeadingPairs>
  <TitlesOfParts>
    <vt:vector size="17" baseType="lpstr">
      <vt:lpstr>Arial</vt:lpstr>
      <vt:lpstr>Calibri</vt:lpstr>
      <vt:lpstr>EYInterstate Light</vt:lpstr>
      <vt:lpstr>Georgia</vt:lpstr>
      <vt:lpstr>Symbol</vt:lpstr>
      <vt:lpstr>Wingdings</vt:lpstr>
      <vt:lpstr>EY dark background</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uan Solana</dc:creator>
  <cp:lastModifiedBy>Katerine Schifino</cp:lastModifiedBy>
  <cp:revision>4</cp:revision>
  <cp:lastPrinted>2022-03-22T16:40:57Z</cp:lastPrinted>
  <dcterms:created xsi:type="dcterms:W3CDTF">2020-11-16T13:23:13Z</dcterms:created>
  <dcterms:modified xsi:type="dcterms:W3CDTF">2022-03-25T20:22: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684780</vt:lpwstr>
  </property>
  <property fmtid="{D5CDD505-2E9C-101B-9397-08002B2CF9AE}" pid="3" name="NXPowerLiteSettings">
    <vt:lpwstr>C700052003A000</vt:lpwstr>
  </property>
  <property fmtid="{D5CDD505-2E9C-101B-9397-08002B2CF9AE}" pid="4" name="NXPowerLiteVersion">
    <vt:lpwstr>D8.0.4</vt:lpwstr>
  </property>
  <property fmtid="{D5CDD505-2E9C-101B-9397-08002B2CF9AE}" pid="5" name="ContentTypeId">
    <vt:lpwstr>0x0101007C4F6F202B989444B8E513D90358DBD5</vt:lpwstr>
  </property>
</Properties>
</file>